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0" r:id="rId1"/>
  </p:sldMasterIdLst>
  <p:notesMasterIdLst>
    <p:notesMasterId r:id="rId5"/>
  </p:notesMasterIdLst>
  <p:sldIdLst>
    <p:sldId id="2145706041" r:id="rId2"/>
    <p:sldId id="2145706037" r:id="rId3"/>
    <p:sldId id="2145706040" r:id="rId4"/>
  </p:sldIdLst>
  <p:sldSz cx="12192000" cy="6858000"/>
  <p:notesSz cx="6858000" cy="9144000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4040"/>
    <a:srgbClr val="1D1B1E"/>
    <a:srgbClr val="020003"/>
    <a:srgbClr val="DD1D21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B7ABFB4-3D09-1FC1-65EA-EFFA01F884D4}" v="7" dt="2024-09-19T13:05:56.926"/>
    <p1510:client id="{CACAA194-7E0D-4388-AC9D-05F1CB5E43F7}" v="321" dt="2024-09-19T14:53:06.92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12" Type="http://schemas.microsoft.com/office/2015/10/relationships/revisionInfo" Target="revisionInfo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microsoft.com/office/2016/11/relationships/changesInfo" Target="changesInfos/changesInfo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ni, Mukhtar SPDC-IUC/G/UCS" userId="d4be2608-be44-4cf9-9f9e-541c57401552" providerId="ADAL" clId="{CACAA194-7E0D-4388-AC9D-05F1CB5E43F7}"/>
    <pc:docChg chg="custSel addSld delSld modSld replTag">
      <pc:chgData name="Sani, Mukhtar SPDC-IUC/G/UCS" userId="d4be2608-be44-4cf9-9f9e-541c57401552" providerId="ADAL" clId="{CACAA194-7E0D-4388-AC9D-05F1CB5E43F7}" dt="2024-09-19T14:53:06.927" v="757" actId="208"/>
      <pc:docMkLst>
        <pc:docMk/>
      </pc:docMkLst>
      <pc:sldChg chg="del">
        <pc:chgData name="Sani, Mukhtar SPDC-IUC/G/UCS" userId="d4be2608-be44-4cf9-9f9e-541c57401552" providerId="ADAL" clId="{CACAA194-7E0D-4388-AC9D-05F1CB5E43F7}" dt="2024-09-19T12:25:39.749" v="2" actId="47"/>
        <pc:sldMkLst>
          <pc:docMk/>
          <pc:sldMk cId="2406277163" sldId="2145706012"/>
        </pc:sldMkLst>
      </pc:sldChg>
      <pc:sldChg chg="addSp delSp modSp mod">
        <pc:chgData name="Sani, Mukhtar SPDC-IUC/G/UCS" userId="d4be2608-be44-4cf9-9f9e-541c57401552" providerId="ADAL" clId="{CACAA194-7E0D-4388-AC9D-05F1CB5E43F7}" dt="2024-09-19T14:53:06.927" v="757" actId="208"/>
        <pc:sldMkLst>
          <pc:docMk/>
          <pc:sldMk cId="2703797257" sldId="2145706037"/>
        </pc:sldMkLst>
        <pc:spChg chg="mod ord">
          <ac:chgData name="Sani, Mukhtar SPDC-IUC/G/UCS" userId="d4be2608-be44-4cf9-9f9e-541c57401552" providerId="ADAL" clId="{CACAA194-7E0D-4388-AC9D-05F1CB5E43F7}" dt="2024-09-19T14:50:22.251" v="677"/>
          <ac:spMkLst>
            <pc:docMk/>
            <pc:sldMk cId="2703797257" sldId="2145706037"/>
            <ac:spMk id="3" creationId="{B63DF455-2371-1947-AA74-45BF74326D51}"/>
          </ac:spMkLst>
        </pc:spChg>
        <pc:spChg chg="mod ord">
          <ac:chgData name="Sani, Mukhtar SPDC-IUC/G/UCS" userId="d4be2608-be44-4cf9-9f9e-541c57401552" providerId="ADAL" clId="{CACAA194-7E0D-4388-AC9D-05F1CB5E43F7}" dt="2024-09-19T14:50:22.255" v="679"/>
          <ac:spMkLst>
            <pc:docMk/>
            <pc:sldMk cId="2703797257" sldId="2145706037"/>
            <ac:spMk id="4" creationId="{6C0383E9-9F60-5D4B-8E89-42865A61E5DE}"/>
          </ac:spMkLst>
        </pc:spChg>
        <pc:spChg chg="mod ord">
          <ac:chgData name="Sani, Mukhtar SPDC-IUC/G/UCS" userId="d4be2608-be44-4cf9-9f9e-541c57401552" providerId="ADAL" clId="{CACAA194-7E0D-4388-AC9D-05F1CB5E43F7}" dt="2024-09-19T14:50:22.259" v="681"/>
          <ac:spMkLst>
            <pc:docMk/>
            <pc:sldMk cId="2703797257" sldId="2145706037"/>
            <ac:spMk id="7" creationId="{F27870F4-F1E1-42D6-B7E7-62FDE5236990}"/>
          </ac:spMkLst>
        </pc:spChg>
        <pc:spChg chg="mod ord">
          <ac:chgData name="Sani, Mukhtar SPDC-IUC/G/UCS" userId="d4be2608-be44-4cf9-9f9e-541c57401552" providerId="ADAL" clId="{CACAA194-7E0D-4388-AC9D-05F1CB5E43F7}" dt="2024-09-19T14:50:22.262" v="683"/>
          <ac:spMkLst>
            <pc:docMk/>
            <pc:sldMk cId="2703797257" sldId="2145706037"/>
            <ac:spMk id="27" creationId="{402BB558-F834-4FF6-9F10-27F469672739}"/>
          </ac:spMkLst>
        </pc:spChg>
        <pc:spChg chg="mod ord">
          <ac:chgData name="Sani, Mukhtar SPDC-IUC/G/UCS" userId="d4be2608-be44-4cf9-9f9e-541c57401552" providerId="ADAL" clId="{CACAA194-7E0D-4388-AC9D-05F1CB5E43F7}" dt="2024-09-19T14:50:22.266" v="685"/>
          <ac:spMkLst>
            <pc:docMk/>
            <pc:sldMk cId="2703797257" sldId="2145706037"/>
            <ac:spMk id="28" creationId="{32F6D89A-97BE-44A5-802B-05306265F2F6}"/>
          </ac:spMkLst>
        </pc:spChg>
        <pc:spChg chg="mod ord">
          <ac:chgData name="Sani, Mukhtar SPDC-IUC/G/UCS" userId="d4be2608-be44-4cf9-9f9e-541c57401552" providerId="ADAL" clId="{CACAA194-7E0D-4388-AC9D-05F1CB5E43F7}" dt="2024-09-19T14:50:22.270" v="687"/>
          <ac:spMkLst>
            <pc:docMk/>
            <pc:sldMk cId="2703797257" sldId="2145706037"/>
            <ac:spMk id="36" creationId="{2EAD0205-FAEA-4F69-9EE4-1BF4606182E7}"/>
          </ac:spMkLst>
        </pc:spChg>
        <pc:spChg chg="mod ord">
          <ac:chgData name="Sani, Mukhtar SPDC-IUC/G/UCS" userId="d4be2608-be44-4cf9-9f9e-541c57401552" providerId="ADAL" clId="{CACAA194-7E0D-4388-AC9D-05F1CB5E43F7}" dt="2024-09-19T14:50:22.289" v="697"/>
          <ac:spMkLst>
            <pc:docMk/>
            <pc:sldMk cId="2703797257" sldId="2145706037"/>
            <ac:spMk id="41" creationId="{4F80A83E-4662-44DF-8F33-3F7440F70599}"/>
          </ac:spMkLst>
        </pc:spChg>
        <pc:spChg chg="mod ord">
          <ac:chgData name="Sani, Mukhtar SPDC-IUC/G/UCS" userId="d4be2608-be44-4cf9-9f9e-541c57401552" providerId="ADAL" clId="{CACAA194-7E0D-4388-AC9D-05F1CB5E43F7}" dt="2024-09-19T14:50:22.293" v="699"/>
          <ac:spMkLst>
            <pc:docMk/>
            <pc:sldMk cId="2703797257" sldId="2145706037"/>
            <ac:spMk id="42" creationId="{EBF30E4C-BA4C-460C-AE2B-859F0A8D60ED}"/>
          </ac:spMkLst>
        </pc:spChg>
        <pc:spChg chg="mod ord">
          <ac:chgData name="Sani, Mukhtar SPDC-IUC/G/UCS" userId="d4be2608-be44-4cf9-9f9e-541c57401552" providerId="ADAL" clId="{CACAA194-7E0D-4388-AC9D-05F1CB5E43F7}" dt="2024-09-19T14:50:22.296" v="701"/>
          <ac:spMkLst>
            <pc:docMk/>
            <pc:sldMk cId="2703797257" sldId="2145706037"/>
            <ac:spMk id="43" creationId="{11149D5A-05D9-47B3-A1A4-A0790A38C086}"/>
          </ac:spMkLst>
        </pc:spChg>
        <pc:spChg chg="add mod ord">
          <ac:chgData name="Sani, Mukhtar SPDC-IUC/G/UCS" userId="d4be2608-be44-4cf9-9f9e-541c57401552" providerId="ADAL" clId="{CACAA194-7E0D-4388-AC9D-05F1CB5E43F7}" dt="2024-09-19T14:51:24.138" v="722" actId="1038"/>
          <ac:spMkLst>
            <pc:docMk/>
            <pc:sldMk cId="2703797257" sldId="2145706037"/>
            <ac:spMk id="53" creationId="{5BFA8C9B-B53B-F6B8-CB92-DAE4B38C7EDE}"/>
          </ac:spMkLst>
        </pc:spChg>
        <pc:spChg chg="add mod ord">
          <ac:chgData name="Sani, Mukhtar SPDC-IUC/G/UCS" userId="d4be2608-be44-4cf9-9f9e-541c57401552" providerId="ADAL" clId="{CACAA194-7E0D-4388-AC9D-05F1CB5E43F7}" dt="2024-09-19T14:51:06.372" v="718" actId="1076"/>
          <ac:spMkLst>
            <pc:docMk/>
            <pc:sldMk cId="2703797257" sldId="2145706037"/>
            <ac:spMk id="54" creationId="{77E99267-21E8-ABC0-0726-42001B7BFB08}"/>
          </ac:spMkLst>
        </pc:spChg>
        <pc:spChg chg="add mod ord">
          <ac:chgData name="Sani, Mukhtar SPDC-IUC/G/UCS" userId="d4be2608-be44-4cf9-9f9e-541c57401552" providerId="ADAL" clId="{CACAA194-7E0D-4388-AC9D-05F1CB5E43F7}" dt="2024-09-19T14:53:06.927" v="757" actId="208"/>
          <ac:spMkLst>
            <pc:docMk/>
            <pc:sldMk cId="2703797257" sldId="2145706037"/>
            <ac:spMk id="55" creationId="{7E5E6661-6F42-836B-4BC6-5EB4CC215D11}"/>
          </ac:spMkLst>
        </pc:spChg>
        <pc:spChg chg="add del mod modVis">
          <ac:chgData name="Sani, Mukhtar SPDC-IUC/G/UCS" userId="d4be2608-be44-4cf9-9f9e-541c57401552" providerId="ADAL" clId="{CACAA194-7E0D-4388-AC9D-05F1CB5E43F7}" dt="2024-09-19T14:50:22.336" v="713"/>
          <ac:spMkLst>
            <pc:docMk/>
            <pc:sldMk cId="2703797257" sldId="2145706037"/>
            <ac:spMk id="56" creationId="{8D566DF7-2833-2939-C475-252239754F35}"/>
          </ac:spMkLst>
        </pc:spChg>
        <pc:graphicFrameChg chg="mod">
          <ac:chgData name="Sani, Mukhtar SPDC-IUC/G/UCS" userId="d4be2608-be44-4cf9-9f9e-541c57401552" providerId="ADAL" clId="{CACAA194-7E0D-4388-AC9D-05F1CB5E43F7}" dt="2024-09-19T14:50:22.361" v="715"/>
          <ac:graphicFrameMkLst>
            <pc:docMk/>
            <pc:sldMk cId="2703797257" sldId="2145706037"/>
            <ac:graphicFrameMk id="5" creationId="{7B2CBBCD-374E-E1C3-9E03-54B3A9C1FF01}"/>
          </ac:graphicFrameMkLst>
        </pc:graphicFrameChg>
        <pc:graphicFrameChg chg="mod ord modGraphic">
          <ac:chgData name="Sani, Mukhtar SPDC-IUC/G/UCS" userId="d4be2608-be44-4cf9-9f9e-541c57401552" providerId="ADAL" clId="{CACAA194-7E0D-4388-AC9D-05F1CB5E43F7}" dt="2024-09-19T14:50:22.300" v="703"/>
          <ac:graphicFrameMkLst>
            <pc:docMk/>
            <pc:sldMk cId="2703797257" sldId="2145706037"/>
            <ac:graphicFrameMk id="14" creationId="{0BFB9CE8-5762-52BD-204B-8299EF321AAA}"/>
          </ac:graphicFrameMkLst>
        </pc:graphicFrameChg>
        <pc:graphicFrameChg chg="add del mod">
          <ac:chgData name="Sani, Mukhtar SPDC-IUC/G/UCS" userId="d4be2608-be44-4cf9-9f9e-541c57401552" providerId="ADAL" clId="{CACAA194-7E0D-4388-AC9D-05F1CB5E43F7}" dt="2024-09-19T14:38:29.827" v="621" actId="478"/>
          <ac:graphicFrameMkLst>
            <pc:docMk/>
            <pc:sldMk cId="2703797257" sldId="2145706037"/>
            <ac:graphicFrameMk id="50" creationId="{2ED6AB65-2EA3-9873-EEE1-45BAE117ECFE}"/>
          </ac:graphicFrameMkLst>
        </pc:graphicFrameChg>
        <pc:graphicFrameChg chg="add mod ord">
          <ac:chgData name="Sani, Mukhtar SPDC-IUC/G/UCS" userId="d4be2608-be44-4cf9-9f9e-541c57401552" providerId="ADAL" clId="{CACAA194-7E0D-4388-AC9D-05F1CB5E43F7}" dt="2024-09-19T14:50:22.305" v="705"/>
          <ac:graphicFrameMkLst>
            <pc:docMk/>
            <pc:sldMk cId="2703797257" sldId="2145706037"/>
            <ac:graphicFrameMk id="52" creationId="{FD8C2A2D-78F1-8B7A-A047-48D73263B7A8}"/>
          </ac:graphicFrameMkLst>
        </pc:graphicFrameChg>
        <pc:cxnChg chg="mod ord">
          <ac:chgData name="Sani, Mukhtar SPDC-IUC/G/UCS" userId="d4be2608-be44-4cf9-9f9e-541c57401552" providerId="ADAL" clId="{CACAA194-7E0D-4388-AC9D-05F1CB5E43F7}" dt="2024-09-19T14:50:22.273" v="689"/>
          <ac:cxnSpMkLst>
            <pc:docMk/>
            <pc:sldMk cId="2703797257" sldId="2145706037"/>
            <ac:cxnSpMk id="37" creationId="{96B22AB2-E593-478D-8E1C-46BDC9A595BB}"/>
          </ac:cxnSpMkLst>
        </pc:cxnChg>
        <pc:cxnChg chg="mod ord">
          <ac:chgData name="Sani, Mukhtar SPDC-IUC/G/UCS" userId="d4be2608-be44-4cf9-9f9e-541c57401552" providerId="ADAL" clId="{CACAA194-7E0D-4388-AC9D-05F1CB5E43F7}" dt="2024-09-19T14:50:22.276" v="691"/>
          <ac:cxnSpMkLst>
            <pc:docMk/>
            <pc:sldMk cId="2703797257" sldId="2145706037"/>
            <ac:cxnSpMk id="38" creationId="{3A4AD474-AD6F-4557-81B6-6487D397FC5E}"/>
          </ac:cxnSpMkLst>
        </pc:cxnChg>
        <pc:cxnChg chg="mod ord">
          <ac:chgData name="Sani, Mukhtar SPDC-IUC/G/UCS" userId="d4be2608-be44-4cf9-9f9e-541c57401552" providerId="ADAL" clId="{CACAA194-7E0D-4388-AC9D-05F1CB5E43F7}" dt="2024-09-19T14:50:22.280" v="693"/>
          <ac:cxnSpMkLst>
            <pc:docMk/>
            <pc:sldMk cId="2703797257" sldId="2145706037"/>
            <ac:cxnSpMk id="39" creationId="{FCF61791-D740-4252-B9D2-00C7DC1DF79A}"/>
          </ac:cxnSpMkLst>
        </pc:cxnChg>
        <pc:cxnChg chg="mod ord">
          <ac:chgData name="Sani, Mukhtar SPDC-IUC/G/UCS" userId="d4be2608-be44-4cf9-9f9e-541c57401552" providerId="ADAL" clId="{CACAA194-7E0D-4388-AC9D-05F1CB5E43F7}" dt="2024-09-19T14:50:22.284" v="695"/>
          <ac:cxnSpMkLst>
            <pc:docMk/>
            <pc:sldMk cId="2703797257" sldId="2145706037"/>
            <ac:cxnSpMk id="40" creationId="{B88E54FB-D815-470A-A81D-D764CEDD173A}"/>
          </ac:cxnSpMkLst>
        </pc:cxnChg>
      </pc:sldChg>
      <pc:sldChg chg="addSp delSp modSp del mod">
        <pc:chgData name="Sani, Mukhtar SPDC-IUC/G/UCS" userId="d4be2608-be44-4cf9-9f9e-541c57401552" providerId="ADAL" clId="{CACAA194-7E0D-4388-AC9D-05F1CB5E43F7}" dt="2024-09-19T14:46:25.617" v="630" actId="47"/>
        <pc:sldMkLst>
          <pc:docMk/>
          <pc:sldMk cId="274673866" sldId="2145706038"/>
        </pc:sldMkLst>
        <pc:spChg chg="mod">
          <ac:chgData name="Sani, Mukhtar SPDC-IUC/G/UCS" userId="d4be2608-be44-4cf9-9f9e-541c57401552" providerId="ADAL" clId="{CACAA194-7E0D-4388-AC9D-05F1CB5E43F7}" dt="2024-09-19T12:27:17.925" v="461"/>
          <ac:spMkLst>
            <pc:docMk/>
            <pc:sldMk cId="274673866" sldId="2145706038"/>
            <ac:spMk id="15" creationId="{BA69CFFA-6CAD-4306-1173-A325B2D6ABED}"/>
          </ac:spMkLst>
        </pc:spChg>
        <pc:spChg chg="mod">
          <ac:chgData name="Sani, Mukhtar SPDC-IUC/G/UCS" userId="d4be2608-be44-4cf9-9f9e-541c57401552" providerId="ADAL" clId="{CACAA194-7E0D-4388-AC9D-05F1CB5E43F7}" dt="2024-09-19T12:27:17.925" v="462"/>
          <ac:spMkLst>
            <pc:docMk/>
            <pc:sldMk cId="274673866" sldId="2145706038"/>
            <ac:spMk id="18" creationId="{F2B3CF42-4F1E-29BD-B152-FEB113FC14CD}"/>
          </ac:spMkLst>
        </pc:spChg>
        <pc:spChg chg="mod">
          <ac:chgData name="Sani, Mukhtar SPDC-IUC/G/UCS" userId="d4be2608-be44-4cf9-9f9e-541c57401552" providerId="ADAL" clId="{CACAA194-7E0D-4388-AC9D-05F1CB5E43F7}" dt="2024-09-19T12:27:17.941" v="463"/>
          <ac:spMkLst>
            <pc:docMk/>
            <pc:sldMk cId="274673866" sldId="2145706038"/>
            <ac:spMk id="19" creationId="{629419C9-CDEC-1F10-97DE-E997467B4A94}"/>
          </ac:spMkLst>
        </pc:spChg>
        <pc:spChg chg="mod">
          <ac:chgData name="Sani, Mukhtar SPDC-IUC/G/UCS" userId="d4be2608-be44-4cf9-9f9e-541c57401552" providerId="ADAL" clId="{CACAA194-7E0D-4388-AC9D-05F1CB5E43F7}" dt="2024-09-19T12:27:17.941" v="464"/>
          <ac:spMkLst>
            <pc:docMk/>
            <pc:sldMk cId="274673866" sldId="2145706038"/>
            <ac:spMk id="20" creationId="{E6728221-6B03-F873-F789-82F110F72006}"/>
          </ac:spMkLst>
        </pc:spChg>
        <pc:spChg chg="mod">
          <ac:chgData name="Sani, Mukhtar SPDC-IUC/G/UCS" userId="d4be2608-be44-4cf9-9f9e-541c57401552" providerId="ADAL" clId="{CACAA194-7E0D-4388-AC9D-05F1CB5E43F7}" dt="2024-09-19T12:27:17.894" v="445"/>
          <ac:spMkLst>
            <pc:docMk/>
            <pc:sldMk cId="274673866" sldId="2145706038"/>
            <ac:spMk id="48" creationId="{A863EC58-10D3-BEFA-F465-DAFCAD584151}"/>
          </ac:spMkLst>
        </pc:spChg>
        <pc:spChg chg="mod">
          <ac:chgData name="Sani, Mukhtar SPDC-IUC/G/UCS" userId="d4be2608-be44-4cf9-9f9e-541c57401552" providerId="ADAL" clId="{CACAA194-7E0D-4388-AC9D-05F1CB5E43F7}" dt="2024-09-19T12:27:17.894" v="446"/>
          <ac:spMkLst>
            <pc:docMk/>
            <pc:sldMk cId="274673866" sldId="2145706038"/>
            <ac:spMk id="49" creationId="{05DC4527-AB81-9D9A-2E42-7BD830B19B89}"/>
          </ac:spMkLst>
        </pc:spChg>
        <pc:spChg chg="mod">
          <ac:chgData name="Sani, Mukhtar SPDC-IUC/G/UCS" userId="d4be2608-be44-4cf9-9f9e-541c57401552" providerId="ADAL" clId="{CACAA194-7E0D-4388-AC9D-05F1CB5E43F7}" dt="2024-09-19T12:27:17.894" v="447"/>
          <ac:spMkLst>
            <pc:docMk/>
            <pc:sldMk cId="274673866" sldId="2145706038"/>
            <ac:spMk id="50" creationId="{2C1A7854-2F44-9712-5F0E-D17E0C346332}"/>
          </ac:spMkLst>
        </pc:spChg>
        <pc:spChg chg="mod">
          <ac:chgData name="Sani, Mukhtar SPDC-IUC/G/UCS" userId="d4be2608-be44-4cf9-9f9e-541c57401552" providerId="ADAL" clId="{CACAA194-7E0D-4388-AC9D-05F1CB5E43F7}" dt="2024-09-19T12:27:17.910" v="448"/>
          <ac:spMkLst>
            <pc:docMk/>
            <pc:sldMk cId="274673866" sldId="2145706038"/>
            <ac:spMk id="51" creationId="{072AA7BC-09D3-772C-A5E4-4C1969314126}"/>
          </ac:spMkLst>
        </pc:spChg>
        <pc:spChg chg="mod">
          <ac:chgData name="Sani, Mukhtar SPDC-IUC/G/UCS" userId="d4be2608-be44-4cf9-9f9e-541c57401552" providerId="ADAL" clId="{CACAA194-7E0D-4388-AC9D-05F1CB5E43F7}" dt="2024-09-19T12:27:17.910" v="449"/>
          <ac:spMkLst>
            <pc:docMk/>
            <pc:sldMk cId="274673866" sldId="2145706038"/>
            <ac:spMk id="52" creationId="{683B3498-129B-2D36-6C0D-53BA7D173720}"/>
          </ac:spMkLst>
        </pc:spChg>
        <pc:spChg chg="mod">
          <ac:chgData name="Sani, Mukhtar SPDC-IUC/G/UCS" userId="d4be2608-be44-4cf9-9f9e-541c57401552" providerId="ADAL" clId="{CACAA194-7E0D-4388-AC9D-05F1CB5E43F7}" dt="2024-09-19T12:27:17.910" v="450"/>
          <ac:spMkLst>
            <pc:docMk/>
            <pc:sldMk cId="274673866" sldId="2145706038"/>
            <ac:spMk id="53" creationId="{3F6C2A01-13B2-552D-C29B-43B6718F3F5A}"/>
          </ac:spMkLst>
        </pc:spChg>
        <pc:spChg chg="mod">
          <ac:chgData name="Sani, Mukhtar SPDC-IUC/G/UCS" userId="d4be2608-be44-4cf9-9f9e-541c57401552" providerId="ADAL" clId="{CACAA194-7E0D-4388-AC9D-05F1CB5E43F7}" dt="2024-09-19T12:27:17.910" v="451"/>
          <ac:spMkLst>
            <pc:docMk/>
            <pc:sldMk cId="274673866" sldId="2145706038"/>
            <ac:spMk id="54" creationId="{3B4EB57D-D961-3D09-F1E2-97941D345B4F}"/>
          </ac:spMkLst>
        </pc:spChg>
        <pc:spChg chg="mod">
          <ac:chgData name="Sani, Mukhtar SPDC-IUC/G/UCS" userId="d4be2608-be44-4cf9-9f9e-541c57401552" providerId="ADAL" clId="{CACAA194-7E0D-4388-AC9D-05F1CB5E43F7}" dt="2024-09-19T12:27:17.910" v="452"/>
          <ac:spMkLst>
            <pc:docMk/>
            <pc:sldMk cId="274673866" sldId="2145706038"/>
            <ac:spMk id="55" creationId="{1DB7D845-BE87-027F-F592-1F69CBD321C2}"/>
          </ac:spMkLst>
        </pc:spChg>
        <pc:spChg chg="add del mod modVis">
          <ac:chgData name="Sani, Mukhtar SPDC-IUC/G/UCS" userId="d4be2608-be44-4cf9-9f9e-541c57401552" providerId="ADAL" clId="{CACAA194-7E0D-4388-AC9D-05F1CB5E43F7}" dt="2024-09-19T12:27:08.690" v="250"/>
          <ac:spMkLst>
            <pc:docMk/>
            <pc:sldMk cId="274673866" sldId="2145706038"/>
            <ac:spMk id="106" creationId="{5AD737C5-B67B-07BC-8DC8-7FE178C20170}"/>
          </ac:spMkLst>
        </pc:spChg>
        <pc:spChg chg="add del mod modVis">
          <ac:chgData name="Sani, Mukhtar SPDC-IUC/G/UCS" userId="d4be2608-be44-4cf9-9f9e-541c57401552" providerId="ADAL" clId="{CACAA194-7E0D-4388-AC9D-05F1CB5E43F7}" dt="2024-09-19T12:27:13.726" v="360"/>
          <ac:spMkLst>
            <pc:docMk/>
            <pc:sldMk cId="274673866" sldId="2145706038"/>
            <ac:spMk id="108" creationId="{2EBD72F9-A089-EB00-0267-6305541BBF43}"/>
          </ac:spMkLst>
        </pc:spChg>
        <pc:spChg chg="add del mod modVis">
          <ac:chgData name="Sani, Mukhtar SPDC-IUC/G/UCS" userId="d4be2608-be44-4cf9-9f9e-541c57401552" providerId="ADAL" clId="{CACAA194-7E0D-4388-AC9D-05F1CB5E43F7}" dt="2024-09-19T12:27:17.941" v="468"/>
          <ac:spMkLst>
            <pc:docMk/>
            <pc:sldMk cId="274673866" sldId="2145706038"/>
            <ac:spMk id="110" creationId="{10AFF62B-321A-618F-FDCA-3964DF43608E}"/>
          </ac:spMkLst>
        </pc:spChg>
        <pc:graphicFrameChg chg="mod">
          <ac:chgData name="Sani, Mukhtar SPDC-IUC/G/UCS" userId="d4be2608-be44-4cf9-9f9e-541c57401552" providerId="ADAL" clId="{CACAA194-7E0D-4388-AC9D-05F1CB5E43F7}" dt="2024-09-19T12:27:17.972" v="470"/>
          <ac:graphicFrameMkLst>
            <pc:docMk/>
            <pc:sldMk cId="274673866" sldId="2145706038"/>
            <ac:graphicFrameMk id="9" creationId="{603246F7-62D2-C92C-4824-18C1E87788FD}"/>
          </ac:graphicFrameMkLst>
        </pc:graphicFrameChg>
        <pc:graphicFrameChg chg="del">
          <ac:chgData name="Sani, Mukhtar SPDC-IUC/G/UCS" userId="d4be2608-be44-4cf9-9f9e-541c57401552" providerId="ADAL" clId="{CACAA194-7E0D-4388-AC9D-05F1CB5E43F7}" dt="2024-09-19T12:27:08.440" v="219"/>
          <ac:graphicFrameMkLst>
            <pc:docMk/>
            <pc:sldMk cId="274673866" sldId="2145706038"/>
            <ac:graphicFrameMk id="105" creationId="{9AA330EC-17BB-78C8-C40D-62D2B1816ED0}"/>
          </ac:graphicFrameMkLst>
        </pc:graphicFrameChg>
        <pc:graphicFrameChg chg="add del mod replST">
          <ac:chgData name="Sani, Mukhtar SPDC-IUC/G/UCS" userId="d4be2608-be44-4cf9-9f9e-541c57401552" providerId="ADAL" clId="{CACAA194-7E0D-4388-AC9D-05F1CB5E43F7}" dt="2024-09-19T12:27:13.554" v="329"/>
          <ac:graphicFrameMkLst>
            <pc:docMk/>
            <pc:sldMk cId="274673866" sldId="2145706038"/>
            <ac:graphicFrameMk id="107" creationId="{AABE224A-7663-2A5A-A461-1EC29FED5E65}"/>
          </ac:graphicFrameMkLst>
        </pc:graphicFrameChg>
        <pc:graphicFrameChg chg="add del mod replST">
          <ac:chgData name="Sani, Mukhtar SPDC-IUC/G/UCS" userId="d4be2608-be44-4cf9-9f9e-541c57401552" providerId="ADAL" clId="{CACAA194-7E0D-4388-AC9D-05F1CB5E43F7}" dt="2024-09-19T12:27:17.721" v="437"/>
          <ac:graphicFrameMkLst>
            <pc:docMk/>
            <pc:sldMk cId="274673866" sldId="2145706038"/>
            <ac:graphicFrameMk id="109" creationId="{1A73A8A4-906A-C36C-840D-240180AD1648}"/>
          </ac:graphicFrameMkLst>
        </pc:graphicFrameChg>
        <pc:graphicFrameChg chg="add mod replST">
          <ac:chgData name="Sani, Mukhtar SPDC-IUC/G/UCS" userId="d4be2608-be44-4cf9-9f9e-541c57401552" providerId="ADAL" clId="{CACAA194-7E0D-4388-AC9D-05F1CB5E43F7}" dt="2024-09-19T12:27:17.894" v="444"/>
          <ac:graphicFrameMkLst>
            <pc:docMk/>
            <pc:sldMk cId="274673866" sldId="2145706038"/>
            <ac:graphicFrameMk id="111" creationId="{D8B704B4-55D2-0A5B-66DB-EC653CD1D211}"/>
          </ac:graphicFrameMkLst>
        </pc:graphicFrameChg>
        <pc:cxnChg chg="mod ord">
          <ac:chgData name="Sani, Mukhtar SPDC-IUC/G/UCS" userId="d4be2608-be44-4cf9-9f9e-541c57401552" providerId="ADAL" clId="{CACAA194-7E0D-4388-AC9D-05F1CB5E43F7}" dt="2024-09-19T12:27:17.925" v="454"/>
          <ac:cxnSpMkLst>
            <pc:docMk/>
            <pc:sldMk cId="274673866" sldId="2145706038"/>
            <ac:cxnSpMk id="98" creationId="{F032007B-B6F9-E374-5A44-A9061E736A28}"/>
          </ac:cxnSpMkLst>
        </pc:cxnChg>
        <pc:cxnChg chg="mod ord">
          <ac:chgData name="Sani, Mukhtar SPDC-IUC/G/UCS" userId="d4be2608-be44-4cf9-9f9e-541c57401552" providerId="ADAL" clId="{CACAA194-7E0D-4388-AC9D-05F1CB5E43F7}" dt="2024-09-19T12:27:17.925" v="456"/>
          <ac:cxnSpMkLst>
            <pc:docMk/>
            <pc:sldMk cId="274673866" sldId="2145706038"/>
            <ac:cxnSpMk id="99" creationId="{EA123014-BBA2-8F7C-D9A9-5450EC5A045D}"/>
          </ac:cxnSpMkLst>
        </pc:cxnChg>
        <pc:cxnChg chg="mod ord">
          <ac:chgData name="Sani, Mukhtar SPDC-IUC/G/UCS" userId="d4be2608-be44-4cf9-9f9e-541c57401552" providerId="ADAL" clId="{CACAA194-7E0D-4388-AC9D-05F1CB5E43F7}" dt="2024-09-19T12:27:17.925" v="458"/>
          <ac:cxnSpMkLst>
            <pc:docMk/>
            <pc:sldMk cId="274673866" sldId="2145706038"/>
            <ac:cxnSpMk id="100" creationId="{0119241E-F49D-A903-BFCC-6D926F2BD87F}"/>
          </ac:cxnSpMkLst>
        </pc:cxnChg>
        <pc:cxnChg chg="mod ord">
          <ac:chgData name="Sani, Mukhtar SPDC-IUC/G/UCS" userId="d4be2608-be44-4cf9-9f9e-541c57401552" providerId="ADAL" clId="{CACAA194-7E0D-4388-AC9D-05F1CB5E43F7}" dt="2024-09-19T12:27:17.925" v="460"/>
          <ac:cxnSpMkLst>
            <pc:docMk/>
            <pc:sldMk cId="274673866" sldId="2145706038"/>
            <ac:cxnSpMk id="101" creationId="{8CC72CFD-D833-FF65-1919-4DE0CD88EB7C}"/>
          </ac:cxnSpMkLst>
        </pc:cxnChg>
      </pc:sldChg>
      <pc:sldChg chg="del">
        <pc:chgData name="Sani, Mukhtar SPDC-IUC/G/UCS" userId="d4be2608-be44-4cf9-9f9e-541c57401552" providerId="ADAL" clId="{CACAA194-7E0D-4388-AC9D-05F1CB5E43F7}" dt="2024-09-19T14:46:25.617" v="630" actId="47"/>
        <pc:sldMkLst>
          <pc:docMk/>
          <pc:sldMk cId="1821429905" sldId="2145706039"/>
        </pc:sldMkLst>
      </pc:sldChg>
      <pc:sldChg chg="new">
        <pc:chgData name="Sani, Mukhtar SPDC-IUC/G/UCS" userId="d4be2608-be44-4cf9-9f9e-541c57401552" providerId="ADAL" clId="{CACAA194-7E0D-4388-AC9D-05F1CB5E43F7}" dt="2024-09-19T12:25:28.023" v="0" actId="680"/>
        <pc:sldMkLst>
          <pc:docMk/>
          <pc:sldMk cId="2403052527" sldId="2145706040"/>
        </pc:sldMkLst>
      </pc:sldChg>
      <pc:sldChg chg="modSp new mod">
        <pc:chgData name="Sani, Mukhtar SPDC-IUC/G/UCS" userId="d4be2608-be44-4cf9-9f9e-541c57401552" providerId="ADAL" clId="{CACAA194-7E0D-4388-AC9D-05F1CB5E43F7}" dt="2024-09-19T12:26:57.954" v="128" actId="20577"/>
        <pc:sldMkLst>
          <pc:docMk/>
          <pc:sldMk cId="1923554550" sldId="2145706041"/>
        </pc:sldMkLst>
        <pc:spChg chg="mod">
          <ac:chgData name="Sani, Mukhtar SPDC-IUC/G/UCS" userId="d4be2608-be44-4cf9-9f9e-541c57401552" providerId="ADAL" clId="{CACAA194-7E0D-4388-AC9D-05F1CB5E43F7}" dt="2024-09-19T12:26:01.921" v="40" actId="20577"/>
          <ac:spMkLst>
            <pc:docMk/>
            <pc:sldMk cId="1923554550" sldId="2145706041"/>
            <ac:spMk id="2" creationId="{49F2AFA9-84E3-4844-B9B1-D6D461684C03}"/>
          </ac:spMkLst>
        </pc:spChg>
        <pc:spChg chg="mod">
          <ac:chgData name="Sani, Mukhtar SPDC-IUC/G/UCS" userId="d4be2608-be44-4cf9-9f9e-541c57401552" providerId="ADAL" clId="{CACAA194-7E0D-4388-AC9D-05F1CB5E43F7}" dt="2024-09-19T12:26:36.471" v="108" actId="20577"/>
          <ac:spMkLst>
            <pc:docMk/>
            <pc:sldMk cId="1923554550" sldId="2145706041"/>
            <ac:spMk id="3" creationId="{57344862-9D42-0382-FD43-7CA09F412AD2}"/>
          </ac:spMkLst>
        </pc:spChg>
        <pc:spChg chg="mod">
          <ac:chgData name="Sani, Mukhtar SPDC-IUC/G/UCS" userId="d4be2608-be44-4cf9-9f9e-541c57401552" providerId="ADAL" clId="{CACAA194-7E0D-4388-AC9D-05F1CB5E43F7}" dt="2024-09-19T12:26:57.954" v="128" actId="20577"/>
          <ac:spMkLst>
            <pc:docMk/>
            <pc:sldMk cId="1923554550" sldId="2145706041"/>
            <ac:spMk id="4" creationId="{04E2C8AF-DFB2-EEC2-22E9-81332F96AB30}"/>
          </ac:spMkLst>
        </pc:spChg>
        <pc:spChg chg="mod">
          <ac:chgData name="Sani, Mukhtar SPDC-IUC/G/UCS" userId="d4be2608-be44-4cf9-9f9e-541c57401552" providerId="ADAL" clId="{CACAA194-7E0D-4388-AC9D-05F1CB5E43F7}" dt="2024-09-19T12:26:50.079" v="120" actId="20577"/>
          <ac:spMkLst>
            <pc:docMk/>
            <pc:sldMk cId="1923554550" sldId="2145706041"/>
            <ac:spMk id="5" creationId="{0840399F-429A-27FF-E9DC-D07ADDDEA80A}"/>
          </ac:spMkLst>
        </pc:spChg>
      </pc:sldChg>
      <pc:sldMasterChg chg="delSldLayout">
        <pc:chgData name="Sani, Mukhtar SPDC-IUC/G/UCS" userId="d4be2608-be44-4cf9-9f9e-541c57401552" providerId="ADAL" clId="{CACAA194-7E0D-4388-AC9D-05F1CB5E43F7}" dt="2024-09-19T14:52:31.934" v="755" actId="2696"/>
        <pc:sldMasterMkLst>
          <pc:docMk/>
          <pc:sldMasterMk cId="2367231797" sldId="2147483650"/>
        </pc:sldMasterMkLst>
        <pc:sldLayoutChg chg="del">
          <pc:chgData name="Sani, Mukhtar SPDC-IUC/G/UCS" userId="d4be2608-be44-4cf9-9f9e-541c57401552" providerId="ADAL" clId="{CACAA194-7E0D-4388-AC9D-05F1CB5E43F7}" dt="2024-09-19T14:52:31.934" v="755" actId="2696"/>
          <pc:sldLayoutMkLst>
            <pc:docMk/>
            <pc:sldMasterMk cId="2367231797" sldId="2147483650"/>
            <pc:sldLayoutMk cId="1211191687" sldId="2147483651"/>
          </pc:sldLayoutMkLst>
        </pc:sldLayoutChg>
        <pc:sldLayoutChg chg="del">
          <pc:chgData name="Sani, Mukhtar SPDC-IUC/G/UCS" userId="d4be2608-be44-4cf9-9f9e-541c57401552" providerId="ADAL" clId="{CACAA194-7E0D-4388-AC9D-05F1CB5E43F7}" dt="2024-09-19T14:52:16.069" v="747" actId="2696"/>
          <pc:sldLayoutMkLst>
            <pc:docMk/>
            <pc:sldMasterMk cId="2367231797" sldId="2147483650"/>
            <pc:sldLayoutMk cId="2314893979" sldId="2147483652"/>
          </pc:sldLayoutMkLst>
        </pc:sldLayoutChg>
        <pc:sldLayoutChg chg="del">
          <pc:chgData name="Sani, Mukhtar SPDC-IUC/G/UCS" userId="d4be2608-be44-4cf9-9f9e-541c57401552" providerId="ADAL" clId="{CACAA194-7E0D-4388-AC9D-05F1CB5E43F7}" dt="2024-09-19T14:52:17.278" v="748" actId="2696"/>
          <pc:sldLayoutMkLst>
            <pc:docMk/>
            <pc:sldMasterMk cId="2367231797" sldId="2147483650"/>
            <pc:sldLayoutMk cId="2651884295" sldId="2147483653"/>
          </pc:sldLayoutMkLst>
        </pc:sldLayoutChg>
        <pc:sldLayoutChg chg="del">
          <pc:chgData name="Sani, Mukhtar SPDC-IUC/G/UCS" userId="d4be2608-be44-4cf9-9f9e-541c57401552" providerId="ADAL" clId="{CACAA194-7E0D-4388-AC9D-05F1CB5E43F7}" dt="2024-09-19T14:52:20.333" v="749" actId="2696"/>
          <pc:sldLayoutMkLst>
            <pc:docMk/>
            <pc:sldMasterMk cId="2367231797" sldId="2147483650"/>
            <pc:sldLayoutMk cId="2321909332" sldId="2147483654"/>
          </pc:sldLayoutMkLst>
        </pc:sldLayoutChg>
        <pc:sldLayoutChg chg="del">
          <pc:chgData name="Sani, Mukhtar SPDC-IUC/G/UCS" userId="d4be2608-be44-4cf9-9f9e-541c57401552" providerId="ADAL" clId="{CACAA194-7E0D-4388-AC9D-05F1CB5E43F7}" dt="2024-09-19T14:52:30.195" v="754" actId="2696"/>
          <pc:sldLayoutMkLst>
            <pc:docMk/>
            <pc:sldMasterMk cId="2367231797" sldId="2147483650"/>
            <pc:sldLayoutMk cId="804473079" sldId="2147483655"/>
          </pc:sldLayoutMkLst>
        </pc:sldLayoutChg>
        <pc:sldLayoutChg chg="del">
          <pc:chgData name="Sani, Mukhtar SPDC-IUC/G/UCS" userId="d4be2608-be44-4cf9-9f9e-541c57401552" providerId="ADAL" clId="{CACAA194-7E0D-4388-AC9D-05F1CB5E43F7}" dt="2024-09-19T14:52:21.737" v="750" actId="2696"/>
          <pc:sldLayoutMkLst>
            <pc:docMk/>
            <pc:sldMasterMk cId="2367231797" sldId="2147483650"/>
            <pc:sldLayoutMk cId="1879017151" sldId="2147483656"/>
          </pc:sldLayoutMkLst>
        </pc:sldLayoutChg>
        <pc:sldLayoutChg chg="del">
          <pc:chgData name="Sani, Mukhtar SPDC-IUC/G/UCS" userId="d4be2608-be44-4cf9-9f9e-541c57401552" providerId="ADAL" clId="{CACAA194-7E0D-4388-AC9D-05F1CB5E43F7}" dt="2024-09-19T14:52:22.385" v="751" actId="2696"/>
          <pc:sldLayoutMkLst>
            <pc:docMk/>
            <pc:sldMasterMk cId="2367231797" sldId="2147483650"/>
            <pc:sldLayoutMk cId="3953057448" sldId="2147483657"/>
          </pc:sldLayoutMkLst>
        </pc:sldLayoutChg>
        <pc:sldLayoutChg chg="del">
          <pc:chgData name="Sani, Mukhtar SPDC-IUC/G/UCS" userId="d4be2608-be44-4cf9-9f9e-541c57401552" providerId="ADAL" clId="{CACAA194-7E0D-4388-AC9D-05F1CB5E43F7}" dt="2024-09-19T14:52:23.047" v="752" actId="2696"/>
          <pc:sldLayoutMkLst>
            <pc:docMk/>
            <pc:sldMasterMk cId="2367231797" sldId="2147483650"/>
            <pc:sldLayoutMk cId="2625699920" sldId="2147483658"/>
          </pc:sldLayoutMkLst>
        </pc:sldLayoutChg>
        <pc:sldLayoutChg chg="del">
          <pc:chgData name="Sani, Mukhtar SPDC-IUC/G/UCS" userId="d4be2608-be44-4cf9-9f9e-541c57401552" providerId="ADAL" clId="{CACAA194-7E0D-4388-AC9D-05F1CB5E43F7}" dt="2024-09-19T14:52:23.642" v="753" actId="2696"/>
          <pc:sldLayoutMkLst>
            <pc:docMk/>
            <pc:sldMasterMk cId="2367231797" sldId="2147483650"/>
            <pc:sldLayoutMk cId="2492717459" sldId="2147483659"/>
          </pc:sldLayoutMkLst>
        </pc:sldLayoutChg>
        <pc:sldLayoutChg chg="del">
          <pc:chgData name="Sani, Mukhtar SPDC-IUC/G/UCS" userId="d4be2608-be44-4cf9-9f9e-541c57401552" providerId="ADAL" clId="{CACAA194-7E0D-4388-AC9D-05F1CB5E43F7}" dt="2024-09-19T14:51:51.288" v="732" actId="2696"/>
          <pc:sldLayoutMkLst>
            <pc:docMk/>
            <pc:sldMasterMk cId="2367231797" sldId="2147483650"/>
            <pc:sldLayoutMk cId="871814999" sldId="2147483687"/>
          </pc:sldLayoutMkLst>
        </pc:sldLayoutChg>
        <pc:sldLayoutChg chg="del">
          <pc:chgData name="Sani, Mukhtar SPDC-IUC/G/UCS" userId="d4be2608-be44-4cf9-9f9e-541c57401552" providerId="ADAL" clId="{CACAA194-7E0D-4388-AC9D-05F1CB5E43F7}" dt="2024-09-19T14:52:06.305" v="746" actId="2696"/>
          <pc:sldLayoutMkLst>
            <pc:docMk/>
            <pc:sldMasterMk cId="2367231797" sldId="2147483650"/>
            <pc:sldLayoutMk cId="3597836776" sldId="2147483688"/>
          </pc:sldLayoutMkLst>
        </pc:sldLayoutChg>
        <pc:sldLayoutChg chg="del">
          <pc:chgData name="Sani, Mukhtar SPDC-IUC/G/UCS" userId="d4be2608-be44-4cf9-9f9e-541c57401552" providerId="ADAL" clId="{CACAA194-7E0D-4388-AC9D-05F1CB5E43F7}" dt="2024-09-19T14:52:05.353" v="745" actId="2696"/>
          <pc:sldLayoutMkLst>
            <pc:docMk/>
            <pc:sldMasterMk cId="2367231797" sldId="2147483650"/>
            <pc:sldLayoutMk cId="1049551881" sldId="2147483689"/>
          </pc:sldLayoutMkLst>
        </pc:sldLayoutChg>
        <pc:sldLayoutChg chg="del">
          <pc:chgData name="Sani, Mukhtar SPDC-IUC/G/UCS" userId="d4be2608-be44-4cf9-9f9e-541c57401552" providerId="ADAL" clId="{CACAA194-7E0D-4388-AC9D-05F1CB5E43F7}" dt="2024-09-19T14:51:50.020" v="731" actId="2696"/>
          <pc:sldLayoutMkLst>
            <pc:docMk/>
            <pc:sldMasterMk cId="2367231797" sldId="2147483650"/>
            <pc:sldLayoutMk cId="996777970" sldId="2147483690"/>
          </pc:sldLayoutMkLst>
        </pc:sldLayoutChg>
        <pc:sldLayoutChg chg="del">
          <pc:chgData name="Sani, Mukhtar SPDC-IUC/G/UCS" userId="d4be2608-be44-4cf9-9f9e-541c57401552" providerId="ADAL" clId="{CACAA194-7E0D-4388-AC9D-05F1CB5E43F7}" dt="2024-09-19T14:51:43.965" v="725" actId="2696"/>
          <pc:sldLayoutMkLst>
            <pc:docMk/>
            <pc:sldMasterMk cId="2367231797" sldId="2147483650"/>
            <pc:sldLayoutMk cId="3643734971" sldId="2147483691"/>
          </pc:sldLayoutMkLst>
        </pc:sldLayoutChg>
        <pc:sldLayoutChg chg="del">
          <pc:chgData name="Sani, Mukhtar SPDC-IUC/G/UCS" userId="d4be2608-be44-4cf9-9f9e-541c57401552" providerId="ADAL" clId="{CACAA194-7E0D-4388-AC9D-05F1CB5E43F7}" dt="2024-09-19T14:51:41.563" v="723" actId="2696"/>
          <pc:sldLayoutMkLst>
            <pc:docMk/>
            <pc:sldMasterMk cId="2367231797" sldId="2147483650"/>
            <pc:sldLayoutMk cId="3705164427" sldId="2147483692"/>
          </pc:sldLayoutMkLst>
        </pc:sldLayoutChg>
        <pc:sldLayoutChg chg="del">
          <pc:chgData name="Sani, Mukhtar SPDC-IUC/G/UCS" userId="d4be2608-be44-4cf9-9f9e-541c57401552" providerId="ADAL" clId="{CACAA194-7E0D-4388-AC9D-05F1CB5E43F7}" dt="2024-09-19T14:51:42.974" v="724" actId="2696"/>
          <pc:sldLayoutMkLst>
            <pc:docMk/>
            <pc:sldMasterMk cId="2367231797" sldId="2147483650"/>
            <pc:sldLayoutMk cId="2741551315" sldId="2147483693"/>
          </pc:sldLayoutMkLst>
        </pc:sldLayoutChg>
        <pc:sldLayoutChg chg="del">
          <pc:chgData name="Sani, Mukhtar SPDC-IUC/G/UCS" userId="d4be2608-be44-4cf9-9f9e-541c57401552" providerId="ADAL" clId="{CACAA194-7E0D-4388-AC9D-05F1CB5E43F7}" dt="2024-09-19T14:51:45.589" v="727" actId="2696"/>
          <pc:sldLayoutMkLst>
            <pc:docMk/>
            <pc:sldMasterMk cId="2367231797" sldId="2147483650"/>
            <pc:sldLayoutMk cId="3550526509" sldId="2147483694"/>
          </pc:sldLayoutMkLst>
        </pc:sldLayoutChg>
        <pc:sldLayoutChg chg="del">
          <pc:chgData name="Sani, Mukhtar SPDC-IUC/G/UCS" userId="d4be2608-be44-4cf9-9f9e-541c57401552" providerId="ADAL" clId="{CACAA194-7E0D-4388-AC9D-05F1CB5E43F7}" dt="2024-09-19T14:51:44.873" v="726" actId="2696"/>
          <pc:sldLayoutMkLst>
            <pc:docMk/>
            <pc:sldMasterMk cId="2367231797" sldId="2147483650"/>
            <pc:sldLayoutMk cId="1631966691" sldId="2147483695"/>
          </pc:sldLayoutMkLst>
        </pc:sldLayoutChg>
        <pc:sldLayoutChg chg="del">
          <pc:chgData name="Sani, Mukhtar SPDC-IUC/G/UCS" userId="d4be2608-be44-4cf9-9f9e-541c57401552" providerId="ADAL" clId="{CACAA194-7E0D-4388-AC9D-05F1CB5E43F7}" dt="2024-09-19T14:51:47.606" v="729" actId="2696"/>
          <pc:sldLayoutMkLst>
            <pc:docMk/>
            <pc:sldMasterMk cId="2367231797" sldId="2147483650"/>
            <pc:sldLayoutMk cId="2317500263" sldId="2147483696"/>
          </pc:sldLayoutMkLst>
        </pc:sldLayoutChg>
        <pc:sldLayoutChg chg="del">
          <pc:chgData name="Sani, Mukhtar SPDC-IUC/G/UCS" userId="d4be2608-be44-4cf9-9f9e-541c57401552" providerId="ADAL" clId="{CACAA194-7E0D-4388-AC9D-05F1CB5E43F7}" dt="2024-09-19T14:51:46.229" v="728" actId="2696"/>
          <pc:sldLayoutMkLst>
            <pc:docMk/>
            <pc:sldMasterMk cId="2367231797" sldId="2147483650"/>
            <pc:sldLayoutMk cId="1494129522" sldId="2147483697"/>
          </pc:sldLayoutMkLst>
        </pc:sldLayoutChg>
        <pc:sldLayoutChg chg="del">
          <pc:chgData name="Sani, Mukhtar SPDC-IUC/G/UCS" userId="d4be2608-be44-4cf9-9f9e-541c57401552" providerId="ADAL" clId="{CACAA194-7E0D-4388-AC9D-05F1CB5E43F7}" dt="2024-09-19T14:51:49.410" v="730" actId="2696"/>
          <pc:sldLayoutMkLst>
            <pc:docMk/>
            <pc:sldMasterMk cId="2367231797" sldId="2147483650"/>
            <pc:sldLayoutMk cId="3753343704" sldId="2147483698"/>
          </pc:sldLayoutMkLst>
        </pc:sldLayoutChg>
        <pc:sldLayoutChg chg="del">
          <pc:chgData name="Sani, Mukhtar SPDC-IUC/G/UCS" userId="d4be2608-be44-4cf9-9f9e-541c57401552" providerId="ADAL" clId="{CACAA194-7E0D-4388-AC9D-05F1CB5E43F7}" dt="2024-09-19T14:51:54.872" v="733" actId="2696"/>
          <pc:sldLayoutMkLst>
            <pc:docMk/>
            <pc:sldMasterMk cId="2367231797" sldId="2147483650"/>
            <pc:sldLayoutMk cId="3325935931" sldId="2147483699"/>
          </pc:sldLayoutMkLst>
        </pc:sldLayoutChg>
        <pc:sldLayoutChg chg="del">
          <pc:chgData name="Sani, Mukhtar SPDC-IUC/G/UCS" userId="d4be2608-be44-4cf9-9f9e-541c57401552" providerId="ADAL" clId="{CACAA194-7E0D-4388-AC9D-05F1CB5E43F7}" dt="2024-09-19T14:51:55.671" v="734" actId="2696"/>
          <pc:sldLayoutMkLst>
            <pc:docMk/>
            <pc:sldMasterMk cId="2367231797" sldId="2147483650"/>
            <pc:sldLayoutMk cId="3384472797" sldId="2147483700"/>
          </pc:sldLayoutMkLst>
        </pc:sldLayoutChg>
        <pc:sldLayoutChg chg="del">
          <pc:chgData name="Sani, Mukhtar SPDC-IUC/G/UCS" userId="d4be2608-be44-4cf9-9f9e-541c57401552" providerId="ADAL" clId="{CACAA194-7E0D-4388-AC9D-05F1CB5E43F7}" dt="2024-09-19T14:51:57.116" v="736" actId="2696"/>
          <pc:sldLayoutMkLst>
            <pc:docMk/>
            <pc:sldMasterMk cId="2367231797" sldId="2147483650"/>
            <pc:sldLayoutMk cId="1140060201" sldId="2147483701"/>
          </pc:sldLayoutMkLst>
        </pc:sldLayoutChg>
        <pc:sldLayoutChg chg="del">
          <pc:chgData name="Sani, Mukhtar SPDC-IUC/G/UCS" userId="d4be2608-be44-4cf9-9f9e-541c57401552" providerId="ADAL" clId="{CACAA194-7E0D-4388-AC9D-05F1CB5E43F7}" dt="2024-09-19T14:51:56.366" v="735" actId="2696"/>
          <pc:sldLayoutMkLst>
            <pc:docMk/>
            <pc:sldMasterMk cId="2367231797" sldId="2147483650"/>
            <pc:sldLayoutMk cId="2466227857" sldId="2147483702"/>
          </pc:sldLayoutMkLst>
        </pc:sldLayoutChg>
        <pc:sldLayoutChg chg="del">
          <pc:chgData name="Sani, Mukhtar SPDC-IUC/G/UCS" userId="d4be2608-be44-4cf9-9f9e-541c57401552" providerId="ADAL" clId="{CACAA194-7E0D-4388-AC9D-05F1CB5E43F7}" dt="2024-09-19T14:51:59.264" v="739" actId="2696"/>
          <pc:sldLayoutMkLst>
            <pc:docMk/>
            <pc:sldMasterMk cId="2367231797" sldId="2147483650"/>
            <pc:sldLayoutMk cId="185004637" sldId="2147483703"/>
          </pc:sldLayoutMkLst>
        </pc:sldLayoutChg>
        <pc:sldLayoutChg chg="del">
          <pc:chgData name="Sani, Mukhtar SPDC-IUC/G/UCS" userId="d4be2608-be44-4cf9-9f9e-541c57401552" providerId="ADAL" clId="{CACAA194-7E0D-4388-AC9D-05F1CB5E43F7}" dt="2024-09-19T14:51:57.640" v="737" actId="2696"/>
          <pc:sldLayoutMkLst>
            <pc:docMk/>
            <pc:sldMasterMk cId="2367231797" sldId="2147483650"/>
            <pc:sldLayoutMk cId="2677924457" sldId="2147483704"/>
          </pc:sldLayoutMkLst>
        </pc:sldLayoutChg>
        <pc:sldLayoutChg chg="del">
          <pc:chgData name="Sani, Mukhtar SPDC-IUC/G/UCS" userId="d4be2608-be44-4cf9-9f9e-541c57401552" providerId="ADAL" clId="{CACAA194-7E0D-4388-AC9D-05F1CB5E43F7}" dt="2024-09-19T14:51:58.625" v="738" actId="2696"/>
          <pc:sldLayoutMkLst>
            <pc:docMk/>
            <pc:sldMasterMk cId="2367231797" sldId="2147483650"/>
            <pc:sldLayoutMk cId="768168041" sldId="2147483705"/>
          </pc:sldLayoutMkLst>
        </pc:sldLayoutChg>
        <pc:sldLayoutChg chg="del">
          <pc:chgData name="Sani, Mukhtar SPDC-IUC/G/UCS" userId="d4be2608-be44-4cf9-9f9e-541c57401552" providerId="ADAL" clId="{CACAA194-7E0D-4388-AC9D-05F1CB5E43F7}" dt="2024-09-19T14:52:00.462" v="741" actId="2696"/>
          <pc:sldLayoutMkLst>
            <pc:docMk/>
            <pc:sldMasterMk cId="2367231797" sldId="2147483650"/>
            <pc:sldLayoutMk cId="2557775301" sldId="2147483706"/>
          </pc:sldLayoutMkLst>
        </pc:sldLayoutChg>
        <pc:sldLayoutChg chg="del">
          <pc:chgData name="Sani, Mukhtar SPDC-IUC/G/UCS" userId="d4be2608-be44-4cf9-9f9e-541c57401552" providerId="ADAL" clId="{CACAA194-7E0D-4388-AC9D-05F1CB5E43F7}" dt="2024-09-19T14:51:59.901" v="740" actId="2696"/>
          <pc:sldLayoutMkLst>
            <pc:docMk/>
            <pc:sldMasterMk cId="2367231797" sldId="2147483650"/>
            <pc:sldLayoutMk cId="1165383892" sldId="2147483707"/>
          </pc:sldLayoutMkLst>
        </pc:sldLayoutChg>
        <pc:sldLayoutChg chg="del">
          <pc:chgData name="Sani, Mukhtar SPDC-IUC/G/UCS" userId="d4be2608-be44-4cf9-9f9e-541c57401552" providerId="ADAL" clId="{CACAA194-7E0D-4388-AC9D-05F1CB5E43F7}" dt="2024-09-19T14:52:01.589" v="743" actId="2696"/>
          <pc:sldLayoutMkLst>
            <pc:docMk/>
            <pc:sldMasterMk cId="2367231797" sldId="2147483650"/>
            <pc:sldLayoutMk cId="3442877416" sldId="2147483708"/>
          </pc:sldLayoutMkLst>
        </pc:sldLayoutChg>
        <pc:sldLayoutChg chg="del">
          <pc:chgData name="Sani, Mukhtar SPDC-IUC/G/UCS" userId="d4be2608-be44-4cf9-9f9e-541c57401552" providerId="ADAL" clId="{CACAA194-7E0D-4388-AC9D-05F1CB5E43F7}" dt="2024-09-19T14:52:00.954" v="742" actId="2696"/>
          <pc:sldLayoutMkLst>
            <pc:docMk/>
            <pc:sldMasterMk cId="2367231797" sldId="2147483650"/>
            <pc:sldLayoutMk cId="3987996807" sldId="2147483709"/>
          </pc:sldLayoutMkLst>
        </pc:sldLayoutChg>
        <pc:sldLayoutChg chg="del">
          <pc:chgData name="Sani, Mukhtar SPDC-IUC/G/UCS" userId="d4be2608-be44-4cf9-9f9e-541c57401552" providerId="ADAL" clId="{CACAA194-7E0D-4388-AC9D-05F1CB5E43F7}" dt="2024-09-19T14:52:03.050" v="744" actId="2696"/>
          <pc:sldLayoutMkLst>
            <pc:docMk/>
            <pc:sldMasterMk cId="2367231797" sldId="2147483650"/>
            <pc:sldLayoutMk cId="674266669" sldId="2147483710"/>
          </pc:sldLayoutMkLst>
        </pc:sldLayoutChg>
      </pc:sldMasterChg>
    </pc:docChg>
  </pc:docChgLst>
  <pc:docChgLst>
    <pc:chgData name="Nwachukwu, Chinedu SPDC-IUC/G/UCS" userId="S::chinedu.nwachukwu@shell.com::606f0470-df81-4aac-be72-cb0d0a651a39" providerId="AD" clId="Web-{9B7ABFB4-3D09-1FC1-65EA-EFFA01F884D4}"/>
    <pc:docChg chg="modSld">
      <pc:chgData name="Nwachukwu, Chinedu SPDC-IUC/G/UCS" userId="S::chinedu.nwachukwu@shell.com::606f0470-df81-4aac-be72-cb0d0a651a39" providerId="AD" clId="Web-{9B7ABFB4-3D09-1FC1-65EA-EFFA01F884D4}" dt="2024-09-19T13:05:56.926" v="6" actId="20577"/>
      <pc:docMkLst>
        <pc:docMk/>
      </pc:docMkLst>
      <pc:sldChg chg="modSp">
        <pc:chgData name="Nwachukwu, Chinedu SPDC-IUC/G/UCS" userId="S::chinedu.nwachukwu@shell.com::606f0470-df81-4aac-be72-cb0d0a651a39" providerId="AD" clId="Web-{9B7ABFB4-3D09-1FC1-65EA-EFFA01F884D4}" dt="2024-09-19T13:05:56.926" v="6" actId="20577"/>
        <pc:sldMkLst>
          <pc:docMk/>
          <pc:sldMk cId="2703797257" sldId="2145706037"/>
        </pc:sldMkLst>
        <pc:spChg chg="mod">
          <ac:chgData name="Nwachukwu, Chinedu SPDC-IUC/G/UCS" userId="S::chinedu.nwachukwu@shell.com::606f0470-df81-4aac-be72-cb0d0a651a39" providerId="AD" clId="Web-{9B7ABFB4-3D09-1FC1-65EA-EFFA01F884D4}" dt="2024-09-19T13:05:56.926" v="6" actId="20577"/>
          <ac:spMkLst>
            <pc:docMk/>
            <pc:sldMk cId="2703797257" sldId="2145706037"/>
            <ac:spMk id="43" creationId="{11149D5A-05D9-47B3-A1A4-A0790A38C086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342BBC-DFED-44BC-8274-F2C9FFD025E3}" type="datetimeFigureOut">
              <a:rPr lang="en-GB" smtClean="0"/>
              <a:t>19/09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9D6690C-9A2F-4114-B48B-CF537D6EB72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64153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icon&#10;&#10;Description automatically generated">
            <a:extLst>
              <a:ext uri="{FF2B5EF4-FFF2-40B4-BE49-F238E27FC236}">
                <a16:creationId xmlns:a16="http://schemas.microsoft.com/office/drawing/2014/main" id="{F16E714A-7C12-C54A-9F6A-83252A3FF0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97173" y="0"/>
            <a:ext cx="6300068" cy="6300068"/>
          </a:xfrm>
          <a:prstGeom prst="rect">
            <a:avLst/>
          </a:prstGeom>
        </p:spPr>
      </p:pic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9CB6004A-5879-014D-BD50-7076E20ACA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1737" y="4176576"/>
            <a:ext cx="9275008" cy="549313"/>
          </a:xfrm>
        </p:spPr>
        <p:txBody>
          <a:bodyPr wrap="square" tIns="36000" anchor="b">
            <a:spAutoFit/>
          </a:bodyPr>
          <a:lstStyle>
            <a:lvl1pPr>
              <a:lnSpc>
                <a:spcPts val="4000"/>
              </a:lnSpc>
              <a:spcAft>
                <a:spcPts val="0"/>
              </a:spcAft>
              <a:defRPr kumimoji="0" lang="nl-NL" sz="4000" b="0" i="0" u="none" strike="noStrike" cap="all" spc="30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ld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marR="0" lvl="0" fontAlgn="auto">
              <a:lnSpc>
                <a:spcPts val="4000"/>
              </a:lnSpc>
              <a:spcAft>
                <a:spcPts val="0"/>
              </a:spcAft>
              <a:buClr>
                <a:srgbClr val="DD1D21"/>
              </a:buClr>
              <a:tabLst/>
            </a:pPr>
            <a:r>
              <a:rPr lang="en-US"/>
              <a:t>PRESENTATION TITLE</a:t>
            </a:r>
            <a:endParaRPr lang="nl-NL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45029B4C-B1D9-C243-BD4A-0296E80352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1737" y="4741856"/>
            <a:ext cx="9275008" cy="405683"/>
          </a:xfrm>
        </p:spPr>
        <p:txBody>
          <a:bodyPr wrap="square" tIns="36000" anchor="t">
            <a:spAutoFit/>
          </a:bodyPr>
          <a:lstStyle>
            <a:lvl1pPr>
              <a:lnSpc>
                <a:spcPct val="100000"/>
              </a:lnSpc>
              <a:defRPr kumimoji="0" lang="nl-NL" sz="2400" b="0" i="0" u="none" strike="noStrike" cap="none" spc="20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Light" pitchFamily="2" charset="0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marR="0" lvl="0" fontAlgn="auto">
              <a:lnSpc>
                <a:spcPct val="100000"/>
              </a:lnSpc>
              <a:buClr>
                <a:srgbClr val="DD1D21"/>
              </a:buClr>
              <a:tabLst/>
            </a:pPr>
            <a:r>
              <a:rPr lang="en-US"/>
              <a:t>PRESENTATION SUB-TITLE</a:t>
            </a:r>
            <a:endParaRPr lang="nl-NL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92C3E4E-645B-DE4A-8382-AB1A039B26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1737" y="6079050"/>
            <a:ext cx="3870461" cy="221018"/>
          </a:xfrm>
        </p:spPr>
        <p:txBody>
          <a:bodyPr lIns="0"/>
          <a:lstStyle>
            <a:lvl1pPr>
              <a:lnSpc>
                <a:spcPct val="100000"/>
              </a:lnSpc>
              <a:defRPr kumimoji="0" lang="nl-NL" sz="1200" b="0" i="0" u="none" strike="noStrike" cap="none" spc="0" normalizeH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ld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marR="0" lvl="0" fontAlgn="auto">
              <a:lnSpc>
                <a:spcPct val="100000"/>
              </a:lnSpc>
              <a:buClr>
                <a:srgbClr val="DD1D21"/>
              </a:buClr>
              <a:tabLst/>
            </a:pPr>
            <a:r>
              <a:rPr lang="en-US"/>
              <a:t>Month day, year</a:t>
            </a:r>
            <a:endParaRPr lang="nl-NL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9296D29A-B11F-E94A-9C83-2472B4298A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1737" y="5636189"/>
            <a:ext cx="6020547" cy="313350"/>
          </a:xfrm>
        </p:spPr>
        <p:txBody>
          <a:bodyPr wrap="square" tIns="36000" anchor="t">
            <a:spAutoFit/>
          </a:bodyPr>
          <a:lstStyle>
            <a:lvl1pPr>
              <a:lnSpc>
                <a:spcPct val="100000"/>
              </a:lnSpc>
              <a:defRPr kumimoji="0" lang="nl-NL" sz="1800" b="0" i="0" u="none" strike="noStrike" cap="none" spc="0" normalizeH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Light" pitchFamily="2" charset="0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marR="0" lvl="0" fontAlgn="auto">
              <a:lnSpc>
                <a:spcPct val="100000"/>
              </a:lnSpc>
              <a:buClr>
                <a:srgbClr val="DD1D21"/>
              </a:buClr>
              <a:tabLst/>
            </a:pPr>
            <a:r>
              <a:rPr lang="en-US"/>
              <a:t>Royal Dutch Shell plc</a:t>
            </a:r>
            <a:endParaRPr lang="nl-NL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7E9BA1F0-9D2E-1A46-8813-DA353873B33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3507" y="2435856"/>
            <a:ext cx="1738132" cy="1738130"/>
          </a:xfrm>
          <a:prstGeom prst="rect">
            <a:avLst/>
          </a:prstGeom>
        </p:spPr>
      </p:pic>
      <p:sp>
        <p:nvSpPr>
          <p:cNvPr id="9" name="TextBox 8" descr="CONFIDENTIAL_TAG_0xFFEE">
            <a:extLst>
              <a:ext uri="{FF2B5EF4-FFF2-40B4-BE49-F238E27FC236}">
                <a16:creationId xmlns:a16="http://schemas.microsoft.com/office/drawing/2014/main" id="{6CF5824C-04EE-2A44-A733-4DEE4AD2273A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07128825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198">
          <p15:clr>
            <a:srgbClr val="FBAE40"/>
          </p15:clr>
        </p15:guide>
        <p15:guide id="4" pos="7357">
          <p15:clr>
            <a:srgbClr val="FBAE40"/>
          </p15:clr>
        </p15:guide>
        <p15:guide id="5" pos="1121">
          <p15:clr>
            <a:srgbClr val="FBAE40"/>
          </p15:clr>
        </p15:guide>
        <p15:guide id="6" orient="horz" pos="4074">
          <p15:clr>
            <a:srgbClr val="FBAE40"/>
          </p15:clr>
        </p15:guide>
        <p15:guide id="7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Fad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8D55CC97-63A7-0441-BC85-5C976867C2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58759C-2698-1248-A302-CA8AFBC8D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sz="2400"/>
            </a:lvl1pPr>
          </a:lstStyle>
          <a:p>
            <a:r>
              <a:rPr lang="en-US"/>
              <a:t>CLICK TO EDIT MASTER TITLE</a:t>
            </a:r>
            <a:br>
              <a:rPr lang="en-US"/>
            </a:br>
            <a:r>
              <a:rPr lang="en-US"/>
              <a:t>SUB TITLE</a:t>
            </a:r>
          </a:p>
        </p:txBody>
      </p:sp>
      <p:sp>
        <p:nvSpPr>
          <p:cNvPr id="6" name="Text Box 11" descr="&lt;COMPANY_NAME&gt;&#10;">
            <a:extLst>
              <a:ext uri="{FF2B5EF4-FFF2-40B4-BE49-F238E27FC236}">
                <a16:creationId xmlns:a16="http://schemas.microsoft.com/office/drawing/2014/main" id="{3A45BAA3-DBDB-5343-8FBD-12C1973CC60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8" name="TextBox 7" descr="CONFIDENTIAL_TAG_0xFFEE">
            <a:extLst>
              <a:ext uri="{FF2B5EF4-FFF2-40B4-BE49-F238E27FC236}">
                <a16:creationId xmlns:a16="http://schemas.microsoft.com/office/drawing/2014/main" id="{CB207B55-0BDF-1243-B6E8-CBA861545F6B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170988812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ad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table&#10;&#10;Description automatically generated">
            <a:extLst>
              <a:ext uri="{FF2B5EF4-FFF2-40B4-BE49-F238E27FC236}">
                <a16:creationId xmlns:a16="http://schemas.microsoft.com/office/drawing/2014/main" id="{4B599F02-C7DE-EB4A-A96A-8B426005EB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80975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2pPr>
            <a:lvl3pPr marL="361950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3pPr>
            <a:lvl4pPr marL="534988" marR="0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4pPr>
            <a:lvl5pPr marL="715963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marL="180975" marR="0" lvl="1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Second level</a:t>
            </a:r>
          </a:p>
          <a:p>
            <a:pPr marL="361950" marR="0" lvl="2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Third level</a:t>
            </a:r>
          </a:p>
          <a:p>
            <a:pPr marL="534988" marR="0" lvl="3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ourth level</a:t>
            </a:r>
          </a:p>
          <a:p>
            <a:pPr marL="715963" marR="0" lvl="4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ifth level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anose="00000500000000000000" pitchFamily="50" charset="0"/>
              <a:ea typeface="+mn-ea"/>
              <a:cs typeface="+mn-cs"/>
            </a:endParaRP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58759C-2698-1248-A302-CA8AFBC8D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sz="2400"/>
            </a:lvl1pPr>
          </a:lstStyle>
          <a:p>
            <a:r>
              <a:rPr lang="en-US"/>
              <a:t>CLICK TO EDIT MASTER TITLE</a:t>
            </a:r>
            <a:br>
              <a:rPr lang="en-US"/>
            </a:br>
            <a:r>
              <a:rPr lang="en-US"/>
              <a:t>SUB TITLE</a:t>
            </a:r>
          </a:p>
        </p:txBody>
      </p:sp>
      <p:sp>
        <p:nvSpPr>
          <p:cNvPr id="12" name="Text Box 11" descr="&lt;COMPANY_NAME&gt;&#10;">
            <a:extLst>
              <a:ext uri="{FF2B5EF4-FFF2-40B4-BE49-F238E27FC236}">
                <a16:creationId xmlns:a16="http://schemas.microsoft.com/office/drawing/2014/main" id="{BB05D129-8770-F646-AC3B-2AC2784C2CA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14" name="TextBox 13" descr="CONFIDENTIAL_TAG_0xFFEE">
            <a:extLst>
              <a:ext uri="{FF2B5EF4-FFF2-40B4-BE49-F238E27FC236}">
                <a16:creationId xmlns:a16="http://schemas.microsoft.com/office/drawing/2014/main" id="{E5C743D0-3553-5E4E-8F9B-DB9A9E781503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219853296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Double Content - Fad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picture containing table&#10;&#10;Description automatically generated">
            <a:extLst>
              <a:ext uri="{FF2B5EF4-FFF2-40B4-BE49-F238E27FC236}">
                <a16:creationId xmlns:a16="http://schemas.microsoft.com/office/drawing/2014/main" id="{CF04A646-6CBA-0344-AE8B-34EB88370E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394036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80975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2pPr>
            <a:lvl3pPr marL="361950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3pPr>
            <a:lvl4pPr marL="534988" marR="0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4pPr>
            <a:lvl5pPr marL="715963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marL="180975" marR="0" lvl="1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Second level</a:t>
            </a:r>
          </a:p>
          <a:p>
            <a:pPr marL="361950" marR="0" lvl="2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Third level</a:t>
            </a:r>
          </a:p>
          <a:p>
            <a:pPr marL="534988" marR="0" lvl="3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ourth level</a:t>
            </a:r>
          </a:p>
          <a:p>
            <a:pPr marL="715963" marR="0" lvl="4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ifth level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anose="00000500000000000000" pitchFamily="50" charset="0"/>
              <a:ea typeface="+mn-ea"/>
              <a:cs typeface="+mn-cs"/>
            </a:endParaRP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58759C-2698-1248-A302-CA8AFBC8D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sz="2400"/>
            </a:lvl1pPr>
          </a:lstStyle>
          <a:p>
            <a:r>
              <a:rPr lang="en-US"/>
              <a:t>CLICK TO EDIT MASTER TITLE</a:t>
            </a:r>
            <a:br>
              <a:rPr lang="en-US"/>
            </a:br>
            <a:r>
              <a:rPr lang="en-US"/>
              <a:t>SUB TITLE</a:t>
            </a:r>
          </a:p>
        </p:txBody>
      </p:sp>
      <p:sp>
        <p:nvSpPr>
          <p:cNvPr id="12" name="Text Box 11" descr="&lt;COMPANY_NAME&gt;&#10;">
            <a:extLst>
              <a:ext uri="{FF2B5EF4-FFF2-40B4-BE49-F238E27FC236}">
                <a16:creationId xmlns:a16="http://schemas.microsoft.com/office/drawing/2014/main" id="{BB05D129-8770-F646-AC3B-2AC2784C2CA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10" name="TextBox 9" descr="CONFIDENTIAL_TAG_0xFFEE">
            <a:extLst>
              <a:ext uri="{FF2B5EF4-FFF2-40B4-BE49-F238E27FC236}">
                <a16:creationId xmlns:a16="http://schemas.microsoft.com/office/drawing/2014/main" id="{572A3E8C-CC79-8443-A76B-00A52147C07E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27E49DD8-B9A5-6443-AEE1-BA4ECE08298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78516" y="1528763"/>
            <a:ext cx="5394036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80975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2pPr>
            <a:lvl3pPr marL="361950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3pPr>
            <a:lvl4pPr marL="534988" marR="0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4pPr>
            <a:lvl5pPr marL="715963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marL="180975" marR="0" lvl="1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Second level</a:t>
            </a:r>
          </a:p>
          <a:p>
            <a:pPr marL="361950" marR="0" lvl="2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Third level</a:t>
            </a:r>
          </a:p>
          <a:p>
            <a:pPr marL="534988" marR="0" lvl="3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ourth level</a:t>
            </a:r>
          </a:p>
          <a:p>
            <a:pPr marL="715963" marR="0" lvl="4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ifth level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anose="000005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1183044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Fad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table&#10;&#10;Description automatically generated">
            <a:extLst>
              <a:ext uri="{FF2B5EF4-FFF2-40B4-BE49-F238E27FC236}">
                <a16:creationId xmlns:a16="http://schemas.microsoft.com/office/drawing/2014/main" id="{0AB3602F-797D-804C-A86D-94753854CA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58759C-2698-1248-A302-CA8AFBC8D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sz="2400"/>
            </a:lvl1pPr>
          </a:lstStyle>
          <a:p>
            <a:r>
              <a:rPr lang="en-US"/>
              <a:t>CLICK TO EDIT MASTER TITLE</a:t>
            </a:r>
            <a:br>
              <a:rPr lang="en-US"/>
            </a:br>
            <a:r>
              <a:rPr lang="en-US"/>
              <a:t>SUB TITLE</a:t>
            </a:r>
          </a:p>
        </p:txBody>
      </p:sp>
      <p:sp>
        <p:nvSpPr>
          <p:cNvPr id="6" name="Text Box 11" descr="&lt;COMPANY_NAME&gt;&#10;">
            <a:extLst>
              <a:ext uri="{FF2B5EF4-FFF2-40B4-BE49-F238E27FC236}">
                <a16:creationId xmlns:a16="http://schemas.microsoft.com/office/drawing/2014/main" id="{3A45BAA3-DBDB-5343-8FBD-12C1973CC60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8" name="TextBox 7" descr="CONFIDENTIAL_TAG_0xFFEE">
            <a:extLst>
              <a:ext uri="{FF2B5EF4-FFF2-40B4-BE49-F238E27FC236}">
                <a16:creationId xmlns:a16="http://schemas.microsoft.com/office/drawing/2014/main" id="{CB207B55-0BDF-1243-B6E8-CBA861545F6B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47355632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B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toy, drawing, game, table&#10;&#10;Description automatically generated">
            <a:extLst>
              <a:ext uri="{FF2B5EF4-FFF2-40B4-BE49-F238E27FC236}">
                <a16:creationId xmlns:a16="http://schemas.microsoft.com/office/drawing/2014/main" id="{20488403-1D1F-A64F-A576-B77630F93E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80975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2pPr>
            <a:lvl3pPr marL="361950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3pPr>
            <a:lvl4pPr marL="534988" marR="0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4pPr>
            <a:lvl5pPr marL="715963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marL="180975" marR="0" lvl="1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Second level</a:t>
            </a:r>
          </a:p>
          <a:p>
            <a:pPr marL="361950" marR="0" lvl="2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Third level</a:t>
            </a:r>
          </a:p>
          <a:p>
            <a:pPr marL="534988" marR="0" lvl="3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ourth level</a:t>
            </a:r>
          </a:p>
          <a:p>
            <a:pPr marL="715963" marR="0" lvl="4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ifth level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anose="00000500000000000000" pitchFamily="50" charset="0"/>
              <a:ea typeface="+mn-ea"/>
              <a:cs typeface="+mn-cs"/>
            </a:endParaRP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58759C-2698-1248-A302-CA8AFBC8D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sz="2400"/>
            </a:lvl1pPr>
          </a:lstStyle>
          <a:p>
            <a:r>
              <a:rPr lang="en-US"/>
              <a:t>CLICK TO EDIT MASTER TITLE</a:t>
            </a:r>
            <a:br>
              <a:rPr lang="en-US"/>
            </a:br>
            <a:r>
              <a:rPr lang="en-US"/>
              <a:t>SUB TITLE</a:t>
            </a:r>
          </a:p>
        </p:txBody>
      </p:sp>
      <p:sp>
        <p:nvSpPr>
          <p:cNvPr id="12" name="Text Box 11" descr="&lt;COMPANY_NAME&gt;&#10;">
            <a:extLst>
              <a:ext uri="{FF2B5EF4-FFF2-40B4-BE49-F238E27FC236}">
                <a16:creationId xmlns:a16="http://schemas.microsoft.com/office/drawing/2014/main" id="{BB05D129-8770-F646-AC3B-2AC2784C2CA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10" name="TextBox 9" descr="CONFIDENTIAL_TAG_0xFFEE">
            <a:extLst>
              <a:ext uri="{FF2B5EF4-FFF2-40B4-BE49-F238E27FC236}">
                <a16:creationId xmlns:a16="http://schemas.microsoft.com/office/drawing/2014/main" id="{572A3E8C-CC79-8443-A76B-00A52147C07E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993843743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Double Content - B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picture containing toy, drawing, game, table&#10;&#10;Description automatically generated">
            <a:extLst>
              <a:ext uri="{FF2B5EF4-FFF2-40B4-BE49-F238E27FC236}">
                <a16:creationId xmlns:a16="http://schemas.microsoft.com/office/drawing/2014/main" id="{62F94B77-6D2B-364C-A945-6B0E62410E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394036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80975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2pPr>
            <a:lvl3pPr marL="361950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3pPr>
            <a:lvl4pPr marL="534988" marR="0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4pPr>
            <a:lvl5pPr marL="715963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marL="180975" marR="0" lvl="1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Second level</a:t>
            </a:r>
          </a:p>
          <a:p>
            <a:pPr marL="361950" marR="0" lvl="2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Third level</a:t>
            </a:r>
          </a:p>
          <a:p>
            <a:pPr marL="534988" marR="0" lvl="3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ourth level</a:t>
            </a:r>
          </a:p>
          <a:p>
            <a:pPr marL="715963" marR="0" lvl="4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ifth level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anose="00000500000000000000" pitchFamily="50" charset="0"/>
              <a:ea typeface="+mn-ea"/>
              <a:cs typeface="+mn-cs"/>
            </a:endParaRP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58759C-2698-1248-A302-CA8AFBC8D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sz="2400"/>
            </a:lvl1pPr>
          </a:lstStyle>
          <a:p>
            <a:r>
              <a:rPr lang="en-US"/>
              <a:t>CLICK TO EDIT MASTER TITLE</a:t>
            </a:r>
            <a:br>
              <a:rPr lang="en-US"/>
            </a:br>
            <a:r>
              <a:rPr lang="en-US"/>
              <a:t>SUB TITLE</a:t>
            </a:r>
          </a:p>
        </p:txBody>
      </p:sp>
      <p:sp>
        <p:nvSpPr>
          <p:cNvPr id="12" name="Text Box 11" descr="&lt;COMPANY_NAME&gt;&#10;">
            <a:extLst>
              <a:ext uri="{FF2B5EF4-FFF2-40B4-BE49-F238E27FC236}">
                <a16:creationId xmlns:a16="http://schemas.microsoft.com/office/drawing/2014/main" id="{BB05D129-8770-F646-AC3B-2AC2784C2CA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10" name="TextBox 9" descr="CONFIDENTIAL_TAG_0xFFEE">
            <a:extLst>
              <a:ext uri="{FF2B5EF4-FFF2-40B4-BE49-F238E27FC236}">
                <a16:creationId xmlns:a16="http://schemas.microsoft.com/office/drawing/2014/main" id="{572A3E8C-CC79-8443-A76B-00A52147C07E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27E49DD8-B9A5-6443-AEE1-BA4ECE08298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78516" y="1528763"/>
            <a:ext cx="5394036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80975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2pPr>
            <a:lvl3pPr marL="361950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3pPr>
            <a:lvl4pPr marL="534988" marR="0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4pPr>
            <a:lvl5pPr marL="715963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marL="180975" marR="0" lvl="1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Second level</a:t>
            </a:r>
          </a:p>
          <a:p>
            <a:pPr marL="361950" marR="0" lvl="2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Third level</a:t>
            </a:r>
          </a:p>
          <a:p>
            <a:pPr marL="534988" marR="0" lvl="3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ourth level</a:t>
            </a:r>
          </a:p>
          <a:p>
            <a:pPr marL="715963" marR="0" lvl="4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ifth level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anose="000005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9146432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B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toy, drawing, game, table&#10;&#10;Description automatically generated">
            <a:extLst>
              <a:ext uri="{FF2B5EF4-FFF2-40B4-BE49-F238E27FC236}">
                <a16:creationId xmlns:a16="http://schemas.microsoft.com/office/drawing/2014/main" id="{95BE8608-7339-994A-9D89-1A8344F262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58759C-2698-1248-A302-CA8AFBC8D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sz="2400"/>
            </a:lvl1pPr>
          </a:lstStyle>
          <a:p>
            <a:r>
              <a:rPr lang="en-US"/>
              <a:t>CLICK TO EDIT MASTER TITLE</a:t>
            </a:r>
            <a:br>
              <a:rPr lang="en-US"/>
            </a:br>
            <a:r>
              <a:rPr lang="en-US"/>
              <a:t>SUB TITLE</a:t>
            </a:r>
          </a:p>
        </p:txBody>
      </p:sp>
      <p:sp>
        <p:nvSpPr>
          <p:cNvPr id="6" name="Text Box 11" descr="&lt;COMPANY_NAME&gt;&#10;">
            <a:extLst>
              <a:ext uri="{FF2B5EF4-FFF2-40B4-BE49-F238E27FC236}">
                <a16:creationId xmlns:a16="http://schemas.microsoft.com/office/drawing/2014/main" id="{3A45BAA3-DBDB-5343-8FBD-12C1973CC60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7" name="TextBox 6" descr="CONFIDENTIAL_TAG_0xFFEE">
            <a:extLst>
              <a:ext uri="{FF2B5EF4-FFF2-40B4-BE49-F238E27FC236}">
                <a16:creationId xmlns:a16="http://schemas.microsoft.com/office/drawing/2014/main" id="{3EB62D6B-EB53-2745-B617-6416F7F5CEC7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336501738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- Fa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C27B6C47-C43B-6C4C-88BF-F5988C7D31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Box 11" descr="&lt;COMPANY_NAME&gt;&#10;">
            <a:extLst>
              <a:ext uri="{FF2B5EF4-FFF2-40B4-BE49-F238E27FC236}">
                <a16:creationId xmlns:a16="http://schemas.microsoft.com/office/drawing/2014/main" id="{B8D0F703-CF3E-A44C-BB8E-0037D7D3839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5" name="TextBox 4" descr="CONFIDENTIAL_TAG_0xFFEE">
            <a:extLst>
              <a:ext uri="{FF2B5EF4-FFF2-40B4-BE49-F238E27FC236}">
                <a16:creationId xmlns:a16="http://schemas.microsoft.com/office/drawing/2014/main" id="{0FA15B5D-32D3-9E49-8B17-2294245D8D71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009240458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- Fa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5A7DFB59-D742-A84F-8E56-03DA8C21BE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Box 11" descr="&lt;COMPANY_NAME&gt;&#10;">
            <a:extLst>
              <a:ext uri="{FF2B5EF4-FFF2-40B4-BE49-F238E27FC236}">
                <a16:creationId xmlns:a16="http://schemas.microsoft.com/office/drawing/2014/main" id="{B8D0F703-CF3E-A44C-BB8E-0037D7D3839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5" name="TextBox 4" descr="CONFIDENTIAL_TAG_0xFFEE">
            <a:extLst>
              <a:ext uri="{FF2B5EF4-FFF2-40B4-BE49-F238E27FC236}">
                <a16:creationId xmlns:a16="http://schemas.microsoft.com/office/drawing/2014/main" id="{0FA15B5D-32D3-9E49-8B17-2294245D8D71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049912868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- Fad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91AE8801-EE18-744A-BFE2-67B003ECE3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Box 11" descr="&lt;COMPANY_NAME&gt;&#10;">
            <a:extLst>
              <a:ext uri="{FF2B5EF4-FFF2-40B4-BE49-F238E27FC236}">
                <a16:creationId xmlns:a16="http://schemas.microsoft.com/office/drawing/2014/main" id="{B8D0F703-CF3E-A44C-BB8E-0037D7D3839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5" name="TextBox 4" descr="CONFIDENTIAL_TAG_0xFFEE">
            <a:extLst>
              <a:ext uri="{FF2B5EF4-FFF2-40B4-BE49-F238E27FC236}">
                <a16:creationId xmlns:a16="http://schemas.microsoft.com/office/drawing/2014/main" id="{0FA15B5D-32D3-9E49-8B17-2294245D8D71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744224551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a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C0B641D9-5755-044F-8454-D9F775B53B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80975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2pPr>
            <a:lvl3pPr marL="361950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3pPr>
            <a:lvl4pPr marL="534988" marR="0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4pPr>
            <a:lvl5pPr marL="715963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marL="180975" marR="0" lvl="1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Second level</a:t>
            </a:r>
          </a:p>
          <a:p>
            <a:pPr marL="361950" marR="0" lvl="2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Third level</a:t>
            </a:r>
          </a:p>
          <a:p>
            <a:pPr marL="534988" marR="0" lvl="3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ourth level</a:t>
            </a:r>
          </a:p>
          <a:p>
            <a:pPr marL="715963" marR="0" lvl="4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ifth level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anose="00000500000000000000" pitchFamily="50" charset="0"/>
              <a:ea typeface="+mn-ea"/>
              <a:cs typeface="+mn-cs"/>
            </a:endParaRP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58759C-2698-1248-A302-CA8AFBC8D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sz="2400"/>
            </a:lvl1pPr>
          </a:lstStyle>
          <a:p>
            <a:r>
              <a:rPr lang="en-US"/>
              <a:t>CLICK TO EDIT MASTER TITLE</a:t>
            </a:r>
            <a:br>
              <a:rPr lang="en-US"/>
            </a:br>
            <a:r>
              <a:rPr lang="en-US"/>
              <a:t>SUB TITLE</a:t>
            </a:r>
          </a:p>
        </p:txBody>
      </p:sp>
      <p:sp>
        <p:nvSpPr>
          <p:cNvPr id="14" name="TextBox 13" descr="CONFIDENTIAL_TAG_0xFFEE">
            <a:extLst>
              <a:ext uri="{FF2B5EF4-FFF2-40B4-BE49-F238E27FC236}">
                <a16:creationId xmlns:a16="http://schemas.microsoft.com/office/drawing/2014/main" id="{E5C743D0-3553-5E4E-8F9B-DB9A9E781503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973599438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- Fad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table&#10;&#10;Description automatically generated">
            <a:extLst>
              <a:ext uri="{FF2B5EF4-FFF2-40B4-BE49-F238E27FC236}">
                <a16:creationId xmlns:a16="http://schemas.microsoft.com/office/drawing/2014/main" id="{EFA33DF2-27DE-AF45-8A92-B565CD5618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Box 11" descr="&lt;COMPANY_NAME&gt;&#10;">
            <a:extLst>
              <a:ext uri="{FF2B5EF4-FFF2-40B4-BE49-F238E27FC236}">
                <a16:creationId xmlns:a16="http://schemas.microsoft.com/office/drawing/2014/main" id="{B8D0F703-CF3E-A44C-BB8E-0037D7D3839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5" name="TextBox 4" descr="CONFIDENTIAL_TAG_0xFFEE">
            <a:extLst>
              <a:ext uri="{FF2B5EF4-FFF2-40B4-BE49-F238E27FC236}">
                <a16:creationId xmlns:a16="http://schemas.microsoft.com/office/drawing/2014/main" id="{0FA15B5D-32D3-9E49-8B17-2294245D8D71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79950493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- B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toy, drawing, game, table&#10;&#10;Description automatically generated">
            <a:extLst>
              <a:ext uri="{FF2B5EF4-FFF2-40B4-BE49-F238E27FC236}">
                <a16:creationId xmlns:a16="http://schemas.microsoft.com/office/drawing/2014/main" id="{43151B00-1397-9343-98A3-459A57A772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Box 11" descr="&lt;COMPANY_NAME&gt;&#10;">
            <a:extLst>
              <a:ext uri="{FF2B5EF4-FFF2-40B4-BE49-F238E27FC236}">
                <a16:creationId xmlns:a16="http://schemas.microsoft.com/office/drawing/2014/main" id="{B8D0F703-CF3E-A44C-BB8E-0037D7D3839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5" name="TextBox 4" descr="CONFIDENTIAL_TAG_0xFFEE">
            <a:extLst>
              <a:ext uri="{FF2B5EF4-FFF2-40B4-BE49-F238E27FC236}">
                <a16:creationId xmlns:a16="http://schemas.microsoft.com/office/drawing/2014/main" id="{0FA15B5D-32D3-9E49-8B17-2294245D8D71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958476016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- Bold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bubble chart&#10;&#10;Description automatically generated">
            <a:extLst>
              <a:ext uri="{FF2B5EF4-FFF2-40B4-BE49-F238E27FC236}">
                <a16:creationId xmlns:a16="http://schemas.microsoft.com/office/drawing/2014/main" id="{62D62D47-2F27-AB4E-8C88-E953FF5AD8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Box 11" descr="&lt;COMPANY_NAME&gt;&#10;">
            <a:extLst>
              <a:ext uri="{FF2B5EF4-FFF2-40B4-BE49-F238E27FC236}">
                <a16:creationId xmlns:a16="http://schemas.microsoft.com/office/drawing/2014/main" id="{B8D0F703-CF3E-A44C-BB8E-0037D7D3839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5" name="TextBox 4" descr="CONFIDENTIAL_TAG_0xFFEE">
            <a:extLst>
              <a:ext uri="{FF2B5EF4-FFF2-40B4-BE49-F238E27FC236}">
                <a16:creationId xmlns:a16="http://schemas.microsoft.com/office/drawing/2014/main" id="{0FA15B5D-32D3-9E49-8B17-2294245D8D71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582585683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 slide-grey"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Box 11" descr="&lt;COMPANY_NAME&gt;&#10;">
            <a:extLst>
              <a:ext uri="{FF2B5EF4-FFF2-40B4-BE49-F238E27FC236}">
                <a16:creationId xmlns:a16="http://schemas.microsoft.com/office/drawing/2014/main" id="{B8D0F703-CF3E-A44C-BB8E-0037D7D3839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4" name="TextBox 3" descr="CONFIDENTIAL_TAG_0xFFEE">
            <a:extLst>
              <a:ext uri="{FF2B5EF4-FFF2-40B4-BE49-F238E27FC236}">
                <a16:creationId xmlns:a16="http://schemas.microsoft.com/office/drawing/2014/main" id="{4CAF28D1-1AF9-4B41-82D5-5842DBC94B1C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557141273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grey background"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80975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2pPr>
            <a:lvl3pPr marL="361950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3pPr>
            <a:lvl4pPr marL="534988" marR="0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4pPr>
            <a:lvl5pPr marL="715963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marL="180975" marR="0" lvl="1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Second level</a:t>
            </a:r>
          </a:p>
          <a:p>
            <a:pPr marL="361950" marR="0" lvl="2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Third level</a:t>
            </a:r>
          </a:p>
          <a:p>
            <a:pPr marL="534988" marR="0" lvl="3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ourth level</a:t>
            </a:r>
          </a:p>
          <a:p>
            <a:pPr marL="715963" marR="0" lvl="4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ifth level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anose="00000500000000000000" pitchFamily="50" charset="0"/>
              <a:ea typeface="+mn-ea"/>
              <a:cs typeface="+mn-cs"/>
            </a:endParaRP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58759C-2698-1248-A302-CA8AFBC8D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sz="2400"/>
            </a:lvl1pPr>
          </a:lstStyle>
          <a:p>
            <a:r>
              <a:rPr lang="en-US"/>
              <a:t>CLICK TO EDIT MASTER TITLE</a:t>
            </a:r>
            <a:br>
              <a:rPr lang="en-US"/>
            </a:br>
            <a:r>
              <a:rPr lang="en-US"/>
              <a:t>SUB TITLE</a:t>
            </a:r>
          </a:p>
        </p:txBody>
      </p:sp>
      <p:sp>
        <p:nvSpPr>
          <p:cNvPr id="12" name="Text Box 11" descr="&lt;COMPANY_NAME&gt;&#10;">
            <a:extLst>
              <a:ext uri="{FF2B5EF4-FFF2-40B4-BE49-F238E27FC236}">
                <a16:creationId xmlns:a16="http://schemas.microsoft.com/office/drawing/2014/main" id="{BB05D129-8770-F646-AC3B-2AC2784C2CA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6" name="TextBox 5" descr="CONFIDENTIAL_TAG_0xFFEE">
            <a:extLst>
              <a:ext uri="{FF2B5EF4-FFF2-40B4-BE49-F238E27FC236}">
                <a16:creationId xmlns:a16="http://schemas.microsoft.com/office/drawing/2014/main" id="{8E2C5343-2DC4-2C46-B524-9C52BB74090F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05624739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 slide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Box 11" descr="&lt;COMPANY_NAME&gt;&#10;">
            <a:extLst>
              <a:ext uri="{FF2B5EF4-FFF2-40B4-BE49-F238E27FC236}">
                <a16:creationId xmlns:a16="http://schemas.microsoft.com/office/drawing/2014/main" id="{B8D0F703-CF3E-A44C-BB8E-0037D7D3839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4" name="TextBox 3" descr="CONFIDENTIAL_TAG_0xFFEE">
            <a:extLst>
              <a:ext uri="{FF2B5EF4-FFF2-40B4-BE49-F238E27FC236}">
                <a16:creationId xmlns:a16="http://schemas.microsoft.com/office/drawing/2014/main" id="{4CAF28D1-1AF9-4B41-82D5-5842DBC94B1C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089504876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- white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80975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2pPr>
            <a:lvl3pPr marL="361950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3pPr>
            <a:lvl4pPr marL="534988" marR="0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4pPr>
            <a:lvl5pPr marL="715963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marL="180975" marR="0" lvl="1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Second level</a:t>
            </a:r>
          </a:p>
          <a:p>
            <a:pPr marL="361950" marR="0" lvl="2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Third level</a:t>
            </a:r>
          </a:p>
          <a:p>
            <a:pPr marL="534988" marR="0" lvl="3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ourth level</a:t>
            </a:r>
          </a:p>
          <a:p>
            <a:pPr marL="715963" marR="0" lvl="4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ifth level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anose="00000500000000000000" pitchFamily="50" charset="0"/>
              <a:ea typeface="+mn-ea"/>
              <a:cs typeface="+mn-cs"/>
            </a:endParaRP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58759C-2698-1248-A302-CA8AFBC8D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sz="2400"/>
            </a:lvl1pPr>
          </a:lstStyle>
          <a:p>
            <a:r>
              <a:rPr lang="en-US"/>
              <a:t>CLICK TO EDIT MASTER TITLE</a:t>
            </a:r>
            <a:br>
              <a:rPr lang="en-US"/>
            </a:br>
            <a:r>
              <a:rPr lang="en-US"/>
              <a:t>SUB TITLE</a:t>
            </a:r>
          </a:p>
        </p:txBody>
      </p:sp>
      <p:sp>
        <p:nvSpPr>
          <p:cNvPr id="12" name="Text Box 11" descr="&lt;COMPANY_NAME&gt;&#10;">
            <a:extLst>
              <a:ext uri="{FF2B5EF4-FFF2-40B4-BE49-F238E27FC236}">
                <a16:creationId xmlns:a16="http://schemas.microsoft.com/office/drawing/2014/main" id="{BB05D129-8770-F646-AC3B-2AC2784C2CA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6" name="TextBox 5" descr="CONFIDENTIAL_TAG_0xFFEE">
            <a:extLst>
              <a:ext uri="{FF2B5EF4-FFF2-40B4-BE49-F238E27FC236}">
                <a16:creationId xmlns:a16="http://schemas.microsoft.com/office/drawing/2014/main" id="{8E2C5343-2DC4-2C46-B524-9C52BB74090F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899052039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432F9FF-CC16-6A4D-AADD-D1BEB173548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1999" cy="6858000"/>
          </a:xfrm>
        </p:spPr>
        <p:txBody>
          <a:bodyPr anchor="t"/>
          <a:lstStyle>
            <a:lvl1pPr algn="ctr">
              <a:defRPr/>
            </a:lvl1pPr>
          </a:lstStyle>
          <a:p>
            <a:r>
              <a:rPr lang="en-US"/>
              <a:t>Click centre icon to insert image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394036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80975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2pPr>
            <a:lvl3pPr marL="361950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3pPr>
            <a:lvl4pPr marL="534988" marR="0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4pPr>
            <a:lvl5pPr marL="715963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marL="180975" marR="0" lvl="1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Second level</a:t>
            </a:r>
          </a:p>
          <a:p>
            <a:pPr marL="361950" marR="0" lvl="2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Third level</a:t>
            </a:r>
          </a:p>
          <a:p>
            <a:pPr marL="534988" marR="0" lvl="3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ourth level</a:t>
            </a:r>
          </a:p>
          <a:p>
            <a:pPr marL="715963" marR="0" lvl="4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ifth level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anose="00000500000000000000" pitchFamily="50" charset="0"/>
              <a:ea typeface="+mn-ea"/>
              <a:cs typeface="+mn-cs"/>
            </a:endParaRP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58759C-2698-1248-A302-CA8AFBC8D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sz="2400"/>
            </a:lvl1pPr>
          </a:lstStyle>
          <a:p>
            <a:r>
              <a:rPr lang="en-US"/>
              <a:t>CLICK TO EDIT MASTER TITLE</a:t>
            </a:r>
            <a:br>
              <a:rPr lang="en-US"/>
            </a:br>
            <a:r>
              <a:rPr lang="en-US"/>
              <a:t>SUB TITLE</a:t>
            </a:r>
          </a:p>
        </p:txBody>
      </p:sp>
      <p:sp>
        <p:nvSpPr>
          <p:cNvPr id="12" name="Text Box 11" descr="&lt;COMPANY_NAME&gt;&#10;">
            <a:extLst>
              <a:ext uri="{FF2B5EF4-FFF2-40B4-BE49-F238E27FC236}">
                <a16:creationId xmlns:a16="http://schemas.microsoft.com/office/drawing/2014/main" id="{BB05D129-8770-F646-AC3B-2AC2784C2CA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6" name="TextBox 5" descr="CONFIDENTIAL_TAG_0xFFEE">
            <a:extLst>
              <a:ext uri="{FF2B5EF4-FFF2-40B4-BE49-F238E27FC236}">
                <a16:creationId xmlns:a16="http://schemas.microsoft.com/office/drawing/2014/main" id="{8E2C5343-2DC4-2C46-B524-9C52BB74090F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053019082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Mandatory)"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2022" y="1568824"/>
            <a:ext cx="3692772" cy="3692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271946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1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4"/>
            <a:ext cx="11171238" cy="4830761"/>
          </a:xfrm>
        </p:spPr>
        <p:txBody>
          <a:bodyPr/>
          <a:lstStyle>
            <a:lvl1pPr marL="0" indent="0" defTabSz="357703">
              <a:lnSpc>
                <a:spcPct val="140000"/>
              </a:lnSpc>
              <a:spcBef>
                <a:spcPts val="0"/>
              </a:spcBef>
              <a:defRPr sz="1800"/>
            </a:lvl1pPr>
            <a:lvl2pPr marL="230397" indent="-230397" defTabSz="357703">
              <a:lnSpc>
                <a:spcPct val="140000"/>
              </a:lnSpc>
              <a:spcBef>
                <a:spcPts val="0"/>
              </a:spcBef>
              <a:defRPr sz="1800"/>
            </a:lvl2pPr>
            <a:lvl3pPr marL="458994" indent="-228597" defTabSz="357703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87591" indent="-228597" defTabSz="357703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90789" indent="-203198" defTabSz="357703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1043187" indent="-152398" defTabSz="357703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0661" y="6469199"/>
            <a:ext cx="149080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3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29801391"/>
      </p:ext>
    </p:extLst>
  </p:cSld>
  <p:clrMapOvr>
    <a:masterClrMapping/>
  </p:clrMapOvr>
  <p:transition/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Double Content - Fa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608514BA-BE3E-944D-B613-31701C2B53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394036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80975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2pPr>
            <a:lvl3pPr marL="361950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3pPr>
            <a:lvl4pPr marL="534988" marR="0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4pPr>
            <a:lvl5pPr marL="715963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marL="180975" marR="0" lvl="1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Second level</a:t>
            </a:r>
          </a:p>
          <a:p>
            <a:pPr marL="361950" marR="0" lvl="2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Third level</a:t>
            </a:r>
          </a:p>
          <a:p>
            <a:pPr marL="534988" marR="0" lvl="3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ourth level</a:t>
            </a:r>
          </a:p>
          <a:p>
            <a:pPr marL="715963" marR="0" lvl="4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ifth level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anose="00000500000000000000" pitchFamily="50" charset="0"/>
              <a:ea typeface="+mn-ea"/>
              <a:cs typeface="+mn-cs"/>
            </a:endParaRP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58759C-2698-1248-A302-CA8AFBC8D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sz="2400"/>
            </a:lvl1pPr>
          </a:lstStyle>
          <a:p>
            <a:r>
              <a:rPr lang="en-US"/>
              <a:t>CLICK TO EDIT MASTER TITLE</a:t>
            </a:r>
            <a:br>
              <a:rPr lang="en-US"/>
            </a:br>
            <a:r>
              <a:rPr lang="en-US"/>
              <a:t>SUB TITLE</a:t>
            </a:r>
          </a:p>
        </p:txBody>
      </p:sp>
      <p:sp>
        <p:nvSpPr>
          <p:cNvPr id="12" name="Text Box 11" descr="&lt;COMPANY_NAME&gt;&#10;">
            <a:extLst>
              <a:ext uri="{FF2B5EF4-FFF2-40B4-BE49-F238E27FC236}">
                <a16:creationId xmlns:a16="http://schemas.microsoft.com/office/drawing/2014/main" id="{BB05D129-8770-F646-AC3B-2AC2784C2CA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10" name="TextBox 9" descr="CONFIDENTIAL_TAG_0xFFEE">
            <a:extLst>
              <a:ext uri="{FF2B5EF4-FFF2-40B4-BE49-F238E27FC236}">
                <a16:creationId xmlns:a16="http://schemas.microsoft.com/office/drawing/2014/main" id="{572A3E8C-CC79-8443-A76B-00A52147C07E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27E49DD8-B9A5-6443-AEE1-BA4ECE08298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78516" y="1528763"/>
            <a:ext cx="5394036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80975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2pPr>
            <a:lvl3pPr marL="361950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3pPr>
            <a:lvl4pPr marL="534988" marR="0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4pPr>
            <a:lvl5pPr marL="715963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marL="180975" marR="0" lvl="1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Second level</a:t>
            </a:r>
          </a:p>
          <a:p>
            <a:pPr marL="361950" marR="0" lvl="2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Third level</a:t>
            </a:r>
          </a:p>
          <a:p>
            <a:pPr marL="534988" marR="0" lvl="3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ourth level</a:t>
            </a:r>
          </a:p>
          <a:p>
            <a:pPr marL="715963" marR="0" lvl="4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ifth level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anose="000005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7935458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 preserve="1">
  <p:cSld name="1_Title slide"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oogle Shape;8;p2"/>
          <p:cNvSpPr txBox="1">
            <a:spLocks noGrp="1"/>
          </p:cNvSpPr>
          <p:nvPr>
            <p:ph type="sldNum" idx="12"/>
          </p:nvPr>
        </p:nvSpPr>
        <p:spPr>
          <a:xfrm>
            <a:off x="11296132" y="6217455"/>
            <a:ext cx="731489" cy="524813"/>
          </a:xfrm>
          <a:prstGeom prst="rect">
            <a:avLst/>
          </a:prstGeom>
        </p:spPr>
        <p:txBody>
          <a:bodyPr spcFirstLastPara="1" wrap="square" lIns="115175" tIns="115175" rIns="115175" bIns="115175" anchor="ctr" anchorCtr="0">
            <a:noAutofit/>
          </a:bodyPr>
          <a:lstStyle>
            <a:lvl1pPr lvl="0">
              <a:buNone/>
              <a:defRPr sz="847">
                <a:latin typeface="ShellBook" pitchFamily="2" charset="0"/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sz="847"/>
          </a:p>
        </p:txBody>
      </p:sp>
    </p:spTree>
    <p:extLst>
      <p:ext uri="{BB962C8B-B14F-4D97-AF65-F5344CB8AC3E}">
        <p14:creationId xmlns:p14="http://schemas.microsoft.com/office/powerpoint/2010/main" val="18517006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Fa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D2598873-D84C-7B45-80A8-23AABA5A90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58759C-2698-1248-A302-CA8AFBC8D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sz="2400"/>
            </a:lvl1pPr>
          </a:lstStyle>
          <a:p>
            <a:r>
              <a:rPr lang="en-US"/>
              <a:t>CLICK TO EDIT MASTER TITLE</a:t>
            </a:r>
            <a:br>
              <a:rPr lang="en-US"/>
            </a:br>
            <a:r>
              <a:rPr lang="en-US"/>
              <a:t>SUB TITLE</a:t>
            </a:r>
          </a:p>
        </p:txBody>
      </p:sp>
      <p:sp>
        <p:nvSpPr>
          <p:cNvPr id="8" name="TextBox 7" descr="CONFIDENTIAL_TAG_0xFFEE">
            <a:extLst>
              <a:ext uri="{FF2B5EF4-FFF2-40B4-BE49-F238E27FC236}">
                <a16:creationId xmlns:a16="http://schemas.microsoft.com/office/drawing/2014/main" id="{CB207B55-0BDF-1243-B6E8-CBA861545F6B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107356853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a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9889F524-86A4-5A48-AB0C-C444056064A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80975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2pPr>
            <a:lvl3pPr marL="361950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3pPr>
            <a:lvl4pPr marL="534988" marR="0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4pPr>
            <a:lvl5pPr marL="715963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marL="180975" marR="0" lvl="1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Second level</a:t>
            </a:r>
          </a:p>
          <a:p>
            <a:pPr marL="361950" marR="0" lvl="2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Third level</a:t>
            </a:r>
          </a:p>
          <a:p>
            <a:pPr marL="534988" marR="0" lvl="3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ourth level</a:t>
            </a:r>
          </a:p>
          <a:p>
            <a:pPr marL="715963" marR="0" lvl="4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ifth level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anose="00000500000000000000" pitchFamily="50" charset="0"/>
              <a:ea typeface="+mn-ea"/>
              <a:cs typeface="+mn-cs"/>
            </a:endParaRP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58759C-2698-1248-A302-CA8AFBC8D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sz="2400"/>
            </a:lvl1pPr>
          </a:lstStyle>
          <a:p>
            <a:r>
              <a:rPr lang="en-US"/>
              <a:t>CLICK TO EDIT MASTER TITLE</a:t>
            </a:r>
            <a:br>
              <a:rPr lang="en-US"/>
            </a:br>
            <a:r>
              <a:rPr lang="en-US"/>
              <a:t>SUB TITLE</a:t>
            </a:r>
          </a:p>
        </p:txBody>
      </p:sp>
      <p:sp>
        <p:nvSpPr>
          <p:cNvPr id="12" name="Text Box 11" descr="&lt;COMPANY_NAME&gt;&#10;">
            <a:extLst>
              <a:ext uri="{FF2B5EF4-FFF2-40B4-BE49-F238E27FC236}">
                <a16:creationId xmlns:a16="http://schemas.microsoft.com/office/drawing/2014/main" id="{BB05D129-8770-F646-AC3B-2AC2784C2CA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14" name="TextBox 13" descr="CONFIDENTIAL_TAG_0xFFEE">
            <a:extLst>
              <a:ext uri="{FF2B5EF4-FFF2-40B4-BE49-F238E27FC236}">
                <a16:creationId xmlns:a16="http://schemas.microsoft.com/office/drawing/2014/main" id="{E5C743D0-3553-5E4E-8F9B-DB9A9E781503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189755244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Double Content - Fa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close up of a logo&#10;&#10;Description automatically generated">
            <a:extLst>
              <a:ext uri="{FF2B5EF4-FFF2-40B4-BE49-F238E27FC236}">
                <a16:creationId xmlns:a16="http://schemas.microsoft.com/office/drawing/2014/main" id="{7785FB7C-CC9C-BE4D-AA29-7590A96F36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394036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80975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2pPr>
            <a:lvl3pPr marL="361950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3pPr>
            <a:lvl4pPr marL="534988" marR="0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4pPr>
            <a:lvl5pPr marL="715963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marL="180975" marR="0" lvl="1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Second level</a:t>
            </a:r>
          </a:p>
          <a:p>
            <a:pPr marL="361950" marR="0" lvl="2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Third level</a:t>
            </a:r>
          </a:p>
          <a:p>
            <a:pPr marL="534988" marR="0" lvl="3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ourth level</a:t>
            </a:r>
          </a:p>
          <a:p>
            <a:pPr marL="715963" marR="0" lvl="4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ifth level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anose="00000500000000000000" pitchFamily="50" charset="0"/>
              <a:ea typeface="+mn-ea"/>
              <a:cs typeface="+mn-cs"/>
            </a:endParaRP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58759C-2698-1248-A302-CA8AFBC8D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sz="2400"/>
            </a:lvl1pPr>
          </a:lstStyle>
          <a:p>
            <a:r>
              <a:rPr lang="en-US"/>
              <a:t>CLICK TO EDIT MASTER TITLE</a:t>
            </a:r>
            <a:br>
              <a:rPr lang="en-US"/>
            </a:br>
            <a:r>
              <a:rPr lang="en-US"/>
              <a:t>SUB TITLE</a:t>
            </a:r>
          </a:p>
        </p:txBody>
      </p:sp>
      <p:sp>
        <p:nvSpPr>
          <p:cNvPr id="12" name="Text Box 11" descr="&lt;COMPANY_NAME&gt;&#10;">
            <a:extLst>
              <a:ext uri="{FF2B5EF4-FFF2-40B4-BE49-F238E27FC236}">
                <a16:creationId xmlns:a16="http://schemas.microsoft.com/office/drawing/2014/main" id="{BB05D129-8770-F646-AC3B-2AC2784C2CA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10" name="TextBox 9" descr="CONFIDENTIAL_TAG_0xFFEE">
            <a:extLst>
              <a:ext uri="{FF2B5EF4-FFF2-40B4-BE49-F238E27FC236}">
                <a16:creationId xmlns:a16="http://schemas.microsoft.com/office/drawing/2014/main" id="{572A3E8C-CC79-8443-A76B-00A52147C07E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27E49DD8-B9A5-6443-AEE1-BA4ECE08298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78516" y="1528763"/>
            <a:ext cx="5394036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80975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2pPr>
            <a:lvl3pPr marL="361950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3pPr>
            <a:lvl4pPr marL="534988" marR="0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4pPr>
            <a:lvl5pPr marL="715963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marL="180975" marR="0" lvl="1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Second level</a:t>
            </a:r>
          </a:p>
          <a:p>
            <a:pPr marL="361950" marR="0" lvl="2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Third level</a:t>
            </a:r>
          </a:p>
          <a:p>
            <a:pPr marL="534988" marR="0" lvl="3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ourth level</a:t>
            </a:r>
          </a:p>
          <a:p>
            <a:pPr marL="715963" marR="0" lvl="4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ifth level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anose="000005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8063541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Fa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1A965F04-D5B4-064C-B267-E743B79E80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58759C-2698-1248-A302-CA8AFBC8D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sz="2400"/>
            </a:lvl1pPr>
          </a:lstStyle>
          <a:p>
            <a:r>
              <a:rPr lang="en-US"/>
              <a:t>CLICK TO EDIT MASTER TITLE</a:t>
            </a:r>
            <a:br>
              <a:rPr lang="en-US"/>
            </a:br>
            <a:r>
              <a:rPr lang="en-US"/>
              <a:t>SUB TITLE</a:t>
            </a:r>
          </a:p>
        </p:txBody>
      </p:sp>
      <p:sp>
        <p:nvSpPr>
          <p:cNvPr id="6" name="Text Box 11" descr="&lt;COMPANY_NAME&gt;&#10;">
            <a:extLst>
              <a:ext uri="{FF2B5EF4-FFF2-40B4-BE49-F238E27FC236}">
                <a16:creationId xmlns:a16="http://schemas.microsoft.com/office/drawing/2014/main" id="{3A45BAA3-DBDB-5343-8FBD-12C1973CC60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8" name="TextBox 7" descr="CONFIDENTIAL_TAG_0xFFEE">
            <a:extLst>
              <a:ext uri="{FF2B5EF4-FFF2-40B4-BE49-F238E27FC236}">
                <a16:creationId xmlns:a16="http://schemas.microsoft.com/office/drawing/2014/main" id="{CB207B55-0BDF-1243-B6E8-CBA861545F6B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069606280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ad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311B6022-7977-4B41-AD65-5B9E50F84B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80975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2pPr>
            <a:lvl3pPr marL="361950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3pPr>
            <a:lvl4pPr marL="534988" marR="0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4pPr>
            <a:lvl5pPr marL="715963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marL="180975" marR="0" lvl="1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Second level</a:t>
            </a:r>
          </a:p>
          <a:p>
            <a:pPr marL="361950" marR="0" lvl="2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Third level</a:t>
            </a:r>
          </a:p>
          <a:p>
            <a:pPr marL="534988" marR="0" lvl="3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ourth level</a:t>
            </a:r>
          </a:p>
          <a:p>
            <a:pPr marL="715963" marR="0" lvl="4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ifth level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anose="00000500000000000000" pitchFamily="50" charset="0"/>
              <a:ea typeface="+mn-ea"/>
              <a:cs typeface="+mn-cs"/>
            </a:endParaRP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58759C-2698-1248-A302-CA8AFBC8D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sz="2400"/>
            </a:lvl1pPr>
          </a:lstStyle>
          <a:p>
            <a:r>
              <a:rPr lang="en-US"/>
              <a:t>CLICK TO EDIT MASTER TITLE</a:t>
            </a:r>
            <a:br>
              <a:rPr lang="en-US"/>
            </a:br>
            <a:r>
              <a:rPr lang="en-US"/>
              <a:t>SUB TITLE</a:t>
            </a:r>
          </a:p>
        </p:txBody>
      </p:sp>
      <p:sp>
        <p:nvSpPr>
          <p:cNvPr id="12" name="Text Box 11" descr="&lt;COMPANY_NAME&gt;&#10;">
            <a:extLst>
              <a:ext uri="{FF2B5EF4-FFF2-40B4-BE49-F238E27FC236}">
                <a16:creationId xmlns:a16="http://schemas.microsoft.com/office/drawing/2014/main" id="{BB05D129-8770-F646-AC3B-2AC2784C2CA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14" name="TextBox 13" descr="CONFIDENTIAL_TAG_0xFFEE">
            <a:extLst>
              <a:ext uri="{FF2B5EF4-FFF2-40B4-BE49-F238E27FC236}">
                <a16:creationId xmlns:a16="http://schemas.microsoft.com/office/drawing/2014/main" id="{E5C743D0-3553-5E4E-8F9B-DB9A9E781503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866987530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Double Content - Fad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B92C149C-49C3-624E-B7F5-17F25C5A4A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394036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80975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2pPr>
            <a:lvl3pPr marL="361950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3pPr>
            <a:lvl4pPr marL="534988" marR="0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4pPr>
            <a:lvl5pPr marL="715963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marL="180975" marR="0" lvl="1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Second level</a:t>
            </a:r>
          </a:p>
          <a:p>
            <a:pPr marL="361950" marR="0" lvl="2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Third level</a:t>
            </a:r>
          </a:p>
          <a:p>
            <a:pPr marL="534988" marR="0" lvl="3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ourth level</a:t>
            </a:r>
          </a:p>
          <a:p>
            <a:pPr marL="715963" marR="0" lvl="4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ifth level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anose="00000500000000000000" pitchFamily="50" charset="0"/>
              <a:ea typeface="+mn-ea"/>
              <a:cs typeface="+mn-cs"/>
            </a:endParaRP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38677" y="6469199"/>
            <a:ext cx="141064" cy="17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 b="0" i="0">
                <a:solidFill>
                  <a:schemeClr val="tx1"/>
                </a:solidFill>
                <a:latin typeface="ShellBook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58759C-2698-1248-A302-CA8AFBC8D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sz="2400"/>
            </a:lvl1pPr>
          </a:lstStyle>
          <a:p>
            <a:r>
              <a:rPr lang="en-US"/>
              <a:t>CLICK TO EDIT MASTER TITLE</a:t>
            </a:r>
            <a:br>
              <a:rPr lang="en-US"/>
            </a:br>
            <a:r>
              <a:rPr lang="en-US"/>
              <a:t>SUB TITLE</a:t>
            </a:r>
          </a:p>
        </p:txBody>
      </p:sp>
      <p:sp>
        <p:nvSpPr>
          <p:cNvPr id="12" name="Text Box 11" descr="&lt;COMPANY_NAME&gt;&#10;">
            <a:extLst>
              <a:ext uri="{FF2B5EF4-FFF2-40B4-BE49-F238E27FC236}">
                <a16:creationId xmlns:a16="http://schemas.microsoft.com/office/drawing/2014/main" id="{BB05D129-8770-F646-AC3B-2AC2784C2CA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b="0" i="0" noProof="1">
                <a:solidFill>
                  <a:schemeClr val="tx1"/>
                </a:solidFill>
                <a:latin typeface="ShellBook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10" name="TextBox 9" descr="CONFIDENTIAL_TAG_0xFFEE">
            <a:extLst>
              <a:ext uri="{FF2B5EF4-FFF2-40B4-BE49-F238E27FC236}">
                <a16:creationId xmlns:a16="http://schemas.microsoft.com/office/drawing/2014/main" id="{572A3E8C-CC79-8443-A76B-00A52147C07E}"/>
              </a:ext>
            </a:extLst>
          </p:cNvPr>
          <p:cNvSpPr txBox="1"/>
          <p:nvPr userDrawn="1"/>
        </p:nvSpPr>
        <p:spPr>
          <a:xfrm>
            <a:off x="5556250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CONFIDENTIAL</a:t>
            </a:r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27E49DD8-B9A5-6443-AEE1-BA4ECE08298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78516" y="1528763"/>
            <a:ext cx="5394036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80975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2pPr>
            <a:lvl3pPr marL="361950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3pPr>
            <a:lvl4pPr marL="534988" marR="0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400"/>
            </a:lvl4pPr>
            <a:lvl5pPr marL="715963" marR="0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marL="180975" marR="0" lvl="1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Second level</a:t>
            </a:r>
          </a:p>
          <a:p>
            <a:pPr marL="361950" marR="0" lvl="2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Third level</a:t>
            </a:r>
          </a:p>
          <a:p>
            <a:pPr marL="534988" marR="0" lvl="3" indent="-173038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ourth level</a:t>
            </a:r>
          </a:p>
          <a:p>
            <a:pPr marL="715963" marR="0" lvl="4" indent="-180975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12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+mn-cs"/>
              </a:rPr>
              <a:t>Fifth level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anose="000005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6847495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7E5DA69-30C7-4FE3-64DA-2E31138517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601698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338" imgH="338" progId="TCLayout.ActiveDocument.1">
                  <p:embed/>
                </p:oleObj>
              </mc:Choice>
              <mc:Fallback>
                <p:oleObj name="think-cell Slide" r:id="rId33" imgW="338" imgH="33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E5DA69-30C7-4FE3-64DA-2E3113851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2259" y="1528763"/>
            <a:ext cx="11164020" cy="4830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532" y="517117"/>
            <a:ext cx="11164020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</a:t>
            </a:r>
            <a:br>
              <a:rPr lang="en-US"/>
            </a:br>
            <a:r>
              <a:rPr lang="en-US"/>
              <a:t>SUB TITLE</a:t>
            </a:r>
            <a:endParaRPr lang="en-GB"/>
          </a:p>
        </p:txBody>
      </p:sp>
      <p:sp>
        <p:nvSpPr>
          <p:cNvPr id="17" name="Rectangle 6" descr="Rectangle 6">
            <a:extLst>
              <a:ext uri="{FF2B5EF4-FFF2-40B4-BE49-F238E27FC236}">
                <a16:creationId xmlns:a16="http://schemas.microsoft.com/office/drawing/2014/main" id="{B39F8AAD-1FF4-4DC2-ADD1-D474246B00F9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57248"/>
            <a:ext cx="355564" cy="16299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lang="en-GB" sz="850" baseline="0" noProof="1" smtClean="0">
                <a:latin typeface="ShellBook" panose="00000500000000000000" pitchFamily="50" charset="0"/>
                <a:cs typeface="+mn-cs"/>
              </a:defRPr>
            </a:lvl1pPr>
          </a:lstStyle>
          <a:p>
            <a:pPr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itchFamily="2" charset="2"/>
              <a:buNone/>
            </a:pPr>
            <a:fld id="{D32BAE6A-B452-4007-8177-56DD051636F9}" type="slidenum">
              <a:rPr lang="nl-NL" smtClean="0"/>
              <a:pPr defTabSz="357708">
                <a:lnSpc>
                  <a:spcPct val="140000"/>
                </a:lnSpc>
                <a:buClr>
                  <a:schemeClr val="accent2"/>
                </a:buClr>
                <a:buSzPct val="85000"/>
                <a:buFont typeface="Wingdings" pitchFamily="2" charset="2"/>
                <a:buNone/>
              </a:pPr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672317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  <p:sldLayoutId id="2147483672" r:id="rId13"/>
    <p:sldLayoutId id="2147483673" r:id="rId14"/>
    <p:sldLayoutId id="2147483674" r:id="rId15"/>
    <p:sldLayoutId id="2147483675" r:id="rId16"/>
    <p:sldLayoutId id="2147483676" r:id="rId17"/>
    <p:sldLayoutId id="2147483677" r:id="rId18"/>
    <p:sldLayoutId id="2147483678" r:id="rId19"/>
    <p:sldLayoutId id="2147483679" r:id="rId20"/>
    <p:sldLayoutId id="2147483680" r:id="rId21"/>
    <p:sldLayoutId id="2147483681" r:id="rId22"/>
    <p:sldLayoutId id="2147483682" r:id="rId23"/>
    <p:sldLayoutId id="2147483683" r:id="rId24"/>
    <p:sldLayoutId id="2147483684" r:id="rId25"/>
    <p:sldLayoutId id="2147483685" r:id="rId26"/>
    <p:sldLayoutId id="2147483686" r:id="rId27"/>
    <p:sldLayoutId id="2147483711" r:id="rId28"/>
    <p:sldLayoutId id="2147483712" r:id="rId29"/>
    <p:sldLayoutId id="2147483713" r:id="rId30"/>
  </p:sldLayoutIdLst>
  <p:transition>
    <p:fade/>
  </p:transition>
  <p:hf hdr="0" ft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2800" b="0" kern="1200" cap="none" spc="1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1200"/>
        </a:spcAft>
        <a:buClr>
          <a:schemeClr val="accent2"/>
        </a:buClr>
        <a:buSzPct val="85000"/>
        <a:buFont typeface="Wingdings" pitchFamily="2" charset="2"/>
        <a:buNone/>
        <a:defRPr sz="1400" kern="1200" baseline="0">
          <a:solidFill>
            <a:schemeClr val="tx1"/>
          </a:solidFill>
          <a:latin typeface="ShellBook" panose="00000500000000000000" pitchFamily="50" charset="0"/>
          <a:ea typeface="+mn-ea"/>
          <a:cs typeface="+mn-cs"/>
        </a:defRPr>
      </a:lvl1pPr>
      <a:lvl2pPr marL="180975" indent="-180975" algn="l" defTabSz="357708" rtl="0" eaLnBrk="1" latinLnBrk="0" hangingPunct="1">
        <a:lnSpc>
          <a:spcPct val="140000"/>
        </a:lnSpc>
        <a:spcBef>
          <a:spcPts val="0"/>
        </a:spcBef>
        <a:spcAft>
          <a:spcPts val="1200"/>
        </a:spcAft>
        <a:buClr>
          <a:schemeClr val="accent2"/>
        </a:buClr>
        <a:buSzPct val="85000"/>
        <a:buFont typeface="Wingdings" panose="05000000000000000000" pitchFamily="2" charset="2"/>
        <a:buChar char="n"/>
        <a:tabLst/>
        <a:defRPr sz="1400" b="0" kern="1200">
          <a:solidFill>
            <a:schemeClr val="tx1"/>
          </a:solidFill>
          <a:latin typeface="ShellBook" panose="00000500000000000000" pitchFamily="50" charset="0"/>
          <a:ea typeface="+mn-ea"/>
          <a:cs typeface="+mn-cs"/>
        </a:defRPr>
      </a:lvl2pPr>
      <a:lvl3pPr marL="361950" indent="-180975" algn="l" defTabSz="357708" rtl="0" eaLnBrk="1" latinLnBrk="0" hangingPunct="1">
        <a:lnSpc>
          <a:spcPct val="140000"/>
        </a:lnSpc>
        <a:spcBef>
          <a:spcPts val="0"/>
        </a:spcBef>
        <a:spcAft>
          <a:spcPts val="1200"/>
        </a:spcAft>
        <a:buClr>
          <a:schemeClr val="accent2"/>
        </a:buClr>
        <a:buSzPct val="85000"/>
        <a:buFont typeface="Wingdings" panose="05000000000000000000" pitchFamily="2" charset="2"/>
        <a:buChar char="n"/>
        <a:tabLst/>
        <a:defRPr sz="1400" b="0" kern="1200">
          <a:solidFill>
            <a:schemeClr val="tx1"/>
          </a:solidFill>
          <a:latin typeface="ShellBook" panose="00000500000000000000" pitchFamily="50" charset="0"/>
          <a:ea typeface="+mn-ea"/>
          <a:cs typeface="+mn-cs"/>
        </a:defRPr>
      </a:lvl3pPr>
      <a:lvl4pPr marL="534988" indent="-173038" algn="l" defTabSz="357708" rtl="0" eaLnBrk="1" latinLnBrk="0" hangingPunct="1">
        <a:lnSpc>
          <a:spcPct val="140000"/>
        </a:lnSpc>
        <a:spcBef>
          <a:spcPts val="0"/>
        </a:spcBef>
        <a:spcAft>
          <a:spcPts val="1200"/>
        </a:spcAft>
        <a:buClr>
          <a:schemeClr val="accent2"/>
        </a:buClr>
        <a:buSzPct val="85000"/>
        <a:buFont typeface="Wingdings" panose="05000000000000000000" pitchFamily="2" charset="2"/>
        <a:buChar char="n"/>
        <a:tabLst/>
        <a:defRPr sz="1400" b="0" kern="1200" baseline="0">
          <a:solidFill>
            <a:schemeClr val="tx1"/>
          </a:solidFill>
          <a:latin typeface="ShellBook" panose="00000500000000000000" pitchFamily="50" charset="0"/>
          <a:ea typeface="+mn-ea"/>
          <a:cs typeface="+mn-cs"/>
        </a:defRPr>
      </a:lvl4pPr>
      <a:lvl5pPr marL="715963" indent="-180975" algn="l" defTabSz="357708" rtl="0" eaLnBrk="1" latinLnBrk="0" hangingPunct="1">
        <a:lnSpc>
          <a:spcPct val="140000"/>
        </a:lnSpc>
        <a:spcBef>
          <a:spcPts val="0"/>
        </a:spcBef>
        <a:spcAft>
          <a:spcPts val="1200"/>
        </a:spcAft>
        <a:buClr>
          <a:schemeClr val="accent2"/>
        </a:buClr>
        <a:buSzPct val="85000"/>
        <a:buFont typeface="Wingdings" panose="05000000000000000000" pitchFamily="2" charset="2"/>
        <a:buChar char="n"/>
        <a:tabLst/>
        <a:defRPr sz="1400" kern="1200">
          <a:solidFill>
            <a:schemeClr val="tx1"/>
          </a:solidFill>
          <a:latin typeface="ShellBook" panose="00000500000000000000" pitchFamily="50" charset="0"/>
          <a:ea typeface="+mn-ea"/>
          <a:cs typeface="+mn-cs"/>
        </a:defRPr>
      </a:lvl5pPr>
      <a:lvl6pPr marL="1043200" indent="-152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166">
          <p15:clr>
            <a:srgbClr val="F26B43"/>
          </p15:clr>
        </p15:guide>
        <p15:guide id="3" pos="7357">
          <p15:clr>
            <a:srgbClr val="F26B43"/>
          </p15:clr>
        </p15:guide>
        <p15:guide id="4" orient="horz" pos="444">
          <p15:clr>
            <a:srgbClr val="F26B43"/>
          </p15:clr>
        </p15:guide>
        <p15:guide id="5" orient="horz" pos="963">
          <p15:clr>
            <a:srgbClr val="F26B43"/>
          </p15:clr>
        </p15:guide>
        <p15:guide id="6" orient="horz" pos="928">
          <p15:clr>
            <a:srgbClr val="F26B43"/>
          </p15:clr>
        </p15:guide>
        <p15:guide id="7" orient="horz" pos="4071">
          <p15:clr>
            <a:srgbClr val="F26B43"/>
          </p15:clr>
        </p15:guide>
        <p15:guide id="8" orient="horz" pos="4006">
          <p15:clr>
            <a:srgbClr val="F26B43"/>
          </p15:clr>
        </p15:guide>
        <p15:guide id="9" pos="3765">
          <p15:clr>
            <a:srgbClr val="F26B43"/>
          </p15:clr>
        </p15:guide>
        <p15:guide id="10" pos="3915">
          <p15:clr>
            <a:srgbClr val="F26B43"/>
          </p15:clr>
        </p15:guide>
        <p15:guide id="11" orient="horz" pos="320">
          <p15:clr>
            <a:srgbClr val="F26B43"/>
          </p15:clr>
        </p15:guide>
        <p15:guide id="12" orient="horz" pos="368">
          <p15:clr>
            <a:srgbClr val="F26B43"/>
          </p15:clr>
        </p15:guide>
        <p15:guide id="13" pos="960">
          <p15:clr>
            <a:srgbClr val="F26B43"/>
          </p15:clr>
        </p15:guide>
        <p15:guide id="14" orient="horz" pos="42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11.emf"/><Relationship Id="rId5" Type="http://schemas.openxmlformats.org/officeDocument/2006/relationships/package" Target="../embeddings/Microsoft_Excel_Worksheet_7FE4E035_A128AC09.xlsx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9F2AFA9-84E3-4844-B9B1-D6D461684C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1737" y="3663616"/>
            <a:ext cx="9275008" cy="1062273"/>
          </a:xfrm>
        </p:spPr>
        <p:txBody>
          <a:bodyPr/>
          <a:lstStyle/>
          <a:p>
            <a:r>
              <a:rPr lang="en-GB"/>
              <a:t>SOKU LPNAG SUCTION PRESSURE DROP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344862-9D42-0382-FD43-7CA09F412AD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/>
              <a:t>37 TO 33.7 BAR | ADDITIONAL 16MMSCF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E2C8AF-DFB2-EEC2-22E9-81332F96AB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/>
              <a:t>SEP 2024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840399F-429A-27FF-E9DC-D07ADDDEA80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/>
              <a:t>SOKU, SPDC</a:t>
            </a:r>
          </a:p>
        </p:txBody>
      </p:sp>
    </p:spTree>
    <p:extLst>
      <p:ext uri="{BB962C8B-B14F-4D97-AF65-F5344CB8AC3E}">
        <p14:creationId xmlns:p14="http://schemas.microsoft.com/office/powerpoint/2010/main" val="1923554550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B2CBBCD-374E-E1C3-9E03-54B3A9C1FF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8077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8" progId="TCLayout.ActiveDocument.1">
                  <p:embed/>
                </p:oleObj>
              </mc:Choice>
              <mc:Fallback>
                <p:oleObj name="think-cell Slide" r:id="rId3" imgW="338" imgH="33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2CBBCD-374E-E1C3-9E03-54B3A9C1FF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>
            <a:extLst>
              <a:ext uri="{FF2B5EF4-FFF2-40B4-BE49-F238E27FC236}">
                <a16:creationId xmlns:a16="http://schemas.microsoft.com/office/drawing/2014/main" id="{7E5E6661-6F42-836B-4BC6-5EB4CC215D11}"/>
              </a:ext>
            </a:extLst>
          </p:cNvPr>
          <p:cNvSpPr/>
          <p:nvPr/>
        </p:nvSpPr>
        <p:spPr>
          <a:xfrm>
            <a:off x="9336024" y="0"/>
            <a:ext cx="2855976" cy="6858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err="1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63DF455-2371-1947-AA74-45BF74326D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9973" y="6469199"/>
            <a:ext cx="89768" cy="176972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2BAE6A-B452-4007-8177-56DD051636F9}" type="slidenum">
              <a:rPr kumimoji="0" lang="en-GB" sz="850" b="0" i="0" u="none" strike="noStrike" kern="1200" cap="none" spc="0" normalizeH="0" baseline="0" noProof="1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itchFamily="2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850" b="0" i="0" u="none" strike="noStrike" kern="1200" cap="none" spc="0" normalizeH="0" baseline="0" noProof="1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itchFamily="2" charset="0"/>
              <a:ea typeface="+mn-ea"/>
              <a:cs typeface="Arial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C0383E9-9F60-5D4B-8E89-42865A61E5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latin typeface="ShellLight" pitchFamily="2" charset="0"/>
              </a:rPr>
              <a:t>LPNAG SUCTION PRESSURE DERATING</a:t>
            </a:r>
            <a:br>
              <a:rPr lang="en-US"/>
            </a:br>
            <a:r>
              <a:rPr lang="en-US"/>
              <a:t>ADDITIONAL </a:t>
            </a:r>
            <a:r>
              <a:rPr lang="en-US">
                <a:solidFill>
                  <a:srgbClr val="DD1D21"/>
                </a:solidFill>
              </a:rPr>
              <a:t>16MMSCFD </a:t>
            </a:r>
            <a:r>
              <a:rPr lang="en-US"/>
              <a:t>HEALTHY TURBINE AND COMPRESSOR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27870F4-F1E1-42D6-B7E7-62FDE5236990}"/>
              </a:ext>
            </a:extLst>
          </p:cNvPr>
          <p:cNvSpPr/>
          <p:nvPr/>
        </p:nvSpPr>
        <p:spPr>
          <a:xfrm>
            <a:off x="508531" y="1569859"/>
            <a:ext cx="1080000" cy="115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ld"/>
                <a:ea typeface="+mn-ea"/>
                <a:cs typeface="+mn-cs"/>
              </a:rPr>
              <a:t>37 </a:t>
            </a:r>
            <a:r>
              <a:rPr lang="en-GB" sz="1600">
                <a:solidFill>
                  <a:srgbClr val="404040"/>
                </a:solidFill>
                <a:latin typeface="ShellBold"/>
              </a:rPr>
              <a:t>T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ld"/>
                <a:ea typeface="+mn-ea"/>
                <a:cs typeface="+mn-cs"/>
              </a:rPr>
              <a:t>33.7 </a:t>
            </a:r>
            <a:r>
              <a:rPr lang="en-GB" sz="1600">
                <a:solidFill>
                  <a:srgbClr val="404040"/>
                </a:solidFill>
                <a:latin typeface="ShellBold"/>
              </a:rPr>
              <a:t>bar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ld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02BB558-F834-4FF6-9F10-27F469672739}"/>
              </a:ext>
            </a:extLst>
          </p:cNvPr>
          <p:cNvSpPr/>
          <p:nvPr/>
        </p:nvSpPr>
        <p:spPr>
          <a:xfrm>
            <a:off x="508531" y="2901859"/>
            <a:ext cx="1080000" cy="115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ld"/>
                <a:ea typeface="+mn-ea"/>
                <a:cs typeface="+mn-cs"/>
              </a:rPr>
              <a:t>16 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ld"/>
                <a:ea typeface="+mn-ea"/>
                <a:cs typeface="+mn-cs"/>
              </a:rPr>
              <a:t>MMSCF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2F6D89A-97BE-44A5-802B-05306265F2F6}"/>
              </a:ext>
            </a:extLst>
          </p:cNvPr>
          <p:cNvSpPr/>
          <p:nvPr/>
        </p:nvSpPr>
        <p:spPr>
          <a:xfrm>
            <a:off x="508531" y="4233859"/>
            <a:ext cx="1080000" cy="115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ld"/>
                <a:ea typeface="+mn-ea"/>
                <a:cs typeface="+mn-cs"/>
              </a:rPr>
              <a:t>STABL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>
                <a:solidFill>
                  <a:srgbClr val="404040"/>
                </a:solidFill>
                <a:latin typeface="ShellBold"/>
              </a:rPr>
              <a:t>PARAM.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ld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EAD0205-FAEA-4F69-9EE4-1BF4606182E7}"/>
              </a:ext>
            </a:extLst>
          </p:cNvPr>
          <p:cNvSpPr/>
          <p:nvPr/>
        </p:nvSpPr>
        <p:spPr>
          <a:xfrm>
            <a:off x="514200" y="5645387"/>
            <a:ext cx="5581799" cy="702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/>
          <a:lstStyle/>
          <a:p>
            <a:pPr marL="201613" marR="0" lvl="0" indent="-201613" algn="l" defTabSz="35770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"/>
              <a:tabLst/>
              <a:defRPr/>
            </a:pPr>
            <a:r>
              <a:rPr lang="en-US" sz="1400">
                <a:solidFill>
                  <a:srgbClr val="404040"/>
                </a:solidFill>
                <a:latin typeface="ShellBook" pitchFamily="2" charset="0"/>
              </a:rPr>
              <a:t>P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os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 test data review indicated room to increase the production by further opening W36 and 39 chokes.</a:t>
            </a:r>
          </a:p>
          <a:p>
            <a:pPr marL="201613" marR="0" lvl="0" indent="-201613" algn="l" defTabSz="35770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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itchFamily="2" charset="0"/>
                <a:ea typeface="+mn-ea"/>
                <a:cs typeface="+mn-cs"/>
              </a:rPr>
              <a:t>Water Evacuation remains a challenge in bringing additional wells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itchFamily="2" charset="0"/>
              <a:ea typeface="+mn-ea"/>
              <a:cs typeface="+mn-cs"/>
            </a:endParaRP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96B22AB2-E593-478D-8E1C-46BDC9A595BB}"/>
              </a:ext>
            </a:extLst>
          </p:cNvPr>
          <p:cNvCxnSpPr/>
          <p:nvPr/>
        </p:nvCxnSpPr>
        <p:spPr>
          <a:xfrm>
            <a:off x="513990" y="6362839"/>
            <a:ext cx="11164020" cy="0"/>
          </a:xfrm>
          <a:prstGeom prst="line">
            <a:avLst/>
          </a:prstGeom>
          <a:ln w="38100">
            <a:solidFill>
              <a:srgbClr val="FBCE0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3A4AD474-AD6F-4557-81B6-6487D397FC5E}"/>
              </a:ext>
            </a:extLst>
          </p:cNvPr>
          <p:cNvCxnSpPr>
            <a:cxnSpLocks/>
          </p:cNvCxnSpPr>
          <p:nvPr/>
        </p:nvCxnSpPr>
        <p:spPr>
          <a:xfrm>
            <a:off x="1660190" y="1569859"/>
            <a:ext cx="0" cy="115200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FCF61791-D740-4252-B9D2-00C7DC1DF79A}"/>
              </a:ext>
            </a:extLst>
          </p:cNvPr>
          <p:cNvCxnSpPr>
            <a:cxnSpLocks/>
          </p:cNvCxnSpPr>
          <p:nvPr/>
        </p:nvCxnSpPr>
        <p:spPr>
          <a:xfrm>
            <a:off x="1660190" y="2901859"/>
            <a:ext cx="0" cy="115200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B88E54FB-D815-470A-A81D-D764CEDD173A}"/>
              </a:ext>
            </a:extLst>
          </p:cNvPr>
          <p:cNvCxnSpPr>
            <a:cxnSpLocks/>
          </p:cNvCxnSpPr>
          <p:nvPr/>
        </p:nvCxnSpPr>
        <p:spPr>
          <a:xfrm>
            <a:off x="1660190" y="4233859"/>
            <a:ext cx="0" cy="115200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4F80A83E-4662-44DF-8F33-3F7440F70599}"/>
              </a:ext>
            </a:extLst>
          </p:cNvPr>
          <p:cNvSpPr/>
          <p:nvPr/>
        </p:nvSpPr>
        <p:spPr>
          <a:xfrm>
            <a:off x="1803767" y="1569859"/>
            <a:ext cx="4212000" cy="115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ld"/>
                <a:ea typeface="+mn-ea"/>
                <a:cs typeface="+mn-cs"/>
              </a:rPr>
              <a:t>TEST PROCEDUR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charset="0"/>
                <a:ea typeface="+mn-ea"/>
                <a:cs typeface="+mn-cs"/>
              </a:rPr>
              <a:t>Decrease pressure from 37 bar to 33.7 bar in 0.5 bar steps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charset="0"/>
                <a:ea typeface="+mn-ea"/>
                <a:cs typeface="+mn-cs"/>
              </a:rPr>
              <a:t>Held each pressure for 2 hours and recorded parameters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charset="0"/>
                <a:ea typeface="+mn-ea"/>
                <a:cs typeface="+mn-cs"/>
              </a:rPr>
              <a:t>Ensured parameters stay within turbine and compressor specs.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anose="00000500000000000000" charset="0"/>
              <a:ea typeface="+mn-ea"/>
              <a:cs typeface="+mn-cs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EBF30E4C-BA4C-460C-AE2B-859F0A8D60ED}"/>
              </a:ext>
            </a:extLst>
          </p:cNvPr>
          <p:cNvSpPr/>
          <p:nvPr/>
        </p:nvSpPr>
        <p:spPr>
          <a:xfrm>
            <a:off x="1803767" y="4233859"/>
            <a:ext cx="4212000" cy="115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GB" sz="1400">
                <a:solidFill>
                  <a:srgbClr val="404040"/>
                </a:solidFill>
                <a:latin typeface="ShellBold"/>
              </a:rPr>
              <a:t>HEALTHY PARAMETERS IN ALL THE STEPS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ld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charset="0"/>
                <a:ea typeface="+mn-ea"/>
                <a:cs typeface="+mn-cs"/>
              </a:rPr>
              <a:t>Temperature, pressure, speed, and vibration were all within specifications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charset="0"/>
                <a:ea typeface="+mn-ea"/>
                <a:cs typeface="+mn-cs"/>
              </a:rPr>
              <a:t>Auxiliary equipment (seal gas, lube oil, etc.) also met specifications.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anose="00000500000000000000" charset="0"/>
              <a:ea typeface="+mn-ea"/>
              <a:cs typeface="+mn-c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11149D5A-05D9-47B3-A1A4-A0790A38C086}"/>
              </a:ext>
            </a:extLst>
          </p:cNvPr>
          <p:cNvSpPr/>
          <p:nvPr/>
        </p:nvSpPr>
        <p:spPr>
          <a:xfrm>
            <a:off x="1803767" y="2901859"/>
            <a:ext cx="4212000" cy="115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45720" rIns="3600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GB" sz="1400">
                <a:solidFill>
                  <a:srgbClr val="404040"/>
                </a:solidFill>
                <a:latin typeface="ShellBold"/>
              </a:rPr>
              <a:t>UP BY 16MMSCF, PARAMETERS MET SPEC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ld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charset="0"/>
                <a:ea typeface="+mn-ea"/>
                <a:cs typeface="+mn-cs"/>
              </a:rPr>
              <a:t>Flow increased 133 to 149mmscf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>
                <a:solidFill>
                  <a:srgbClr val="404040"/>
                </a:solidFill>
                <a:latin typeface="ShellBook" panose="00000500000000000000" charset="0"/>
              </a:rPr>
              <a:t>Compressor pressure: 82 to 85 bar (Trip: 110 bar)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>
                <a:solidFill>
                  <a:srgbClr val="404040"/>
                </a:solidFill>
                <a:latin typeface="ShellBook" panose="00000500000000000000" charset="0"/>
              </a:rPr>
              <a:t>Turbine EGT: 1,289 to 1,331°F (Trip: 1427°F)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/>
              </a:rPr>
              <a:t>Turbine RPM: 5,911 to </a:t>
            </a:r>
            <a:r>
              <a:rPr lang="en-US" sz="1400">
                <a:solidFill>
                  <a:srgbClr val="404040"/>
                </a:solidFill>
                <a:latin typeface="ShellBook"/>
              </a:rPr>
              <a:t>6,400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/>
              </a:rPr>
              <a:t> (Trip: </a:t>
            </a:r>
            <a:r>
              <a:rPr lang="en-US" sz="1400">
                <a:solidFill>
                  <a:srgbClr val="404040"/>
                </a:solidFill>
                <a:latin typeface="ShellBook"/>
              </a:rPr>
              <a:t>6500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/>
              </a:rPr>
              <a:t> RPM)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/>
            </a:endParaRPr>
          </a:p>
        </p:txBody>
      </p:sp>
      <p:graphicFrame>
        <p:nvGraphicFramePr>
          <p:cNvPr id="14" name="Content Placeholder 13">
            <a:extLst>
              <a:ext uri="{FF2B5EF4-FFF2-40B4-BE49-F238E27FC236}">
                <a16:creationId xmlns:a16="http://schemas.microsoft.com/office/drawing/2014/main" id="{0BFB9CE8-5762-52BD-204B-8299EF321AAA}"/>
              </a:ext>
            </a:extLst>
          </p:cNvPr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3660687846"/>
              </p:ext>
            </p:extLst>
          </p:nvPr>
        </p:nvGraphicFramePr>
        <p:xfrm>
          <a:off x="6159344" y="1206532"/>
          <a:ext cx="5520399" cy="5073804"/>
        </p:xfrm>
        <a:graphic>
          <a:graphicData uri="http://schemas.openxmlformats.org/drawingml/2006/table">
            <a:tbl>
              <a:tblPr firstRow="1">
                <a:tableStyleId>{793D81CF-94F2-401A-BA57-92F5A7B2D0C5}</a:tableStyleId>
              </a:tblPr>
              <a:tblGrid>
                <a:gridCol w="2990493">
                  <a:extLst>
                    <a:ext uri="{9D8B030D-6E8A-4147-A177-3AD203B41FA5}">
                      <a16:colId xmlns:a16="http://schemas.microsoft.com/office/drawing/2014/main" val="3702918853"/>
                    </a:ext>
                  </a:extLst>
                </a:gridCol>
                <a:gridCol w="623021">
                  <a:extLst>
                    <a:ext uri="{9D8B030D-6E8A-4147-A177-3AD203B41FA5}">
                      <a16:colId xmlns:a16="http://schemas.microsoft.com/office/drawing/2014/main" val="2956780815"/>
                    </a:ext>
                  </a:extLst>
                </a:gridCol>
                <a:gridCol w="623021">
                  <a:extLst>
                    <a:ext uri="{9D8B030D-6E8A-4147-A177-3AD203B41FA5}">
                      <a16:colId xmlns:a16="http://schemas.microsoft.com/office/drawing/2014/main" val="3431924780"/>
                    </a:ext>
                  </a:extLst>
                </a:gridCol>
                <a:gridCol w="569617">
                  <a:extLst>
                    <a:ext uri="{9D8B030D-6E8A-4147-A177-3AD203B41FA5}">
                      <a16:colId xmlns:a16="http://schemas.microsoft.com/office/drawing/2014/main" val="461949880"/>
                    </a:ext>
                  </a:extLst>
                </a:gridCol>
                <a:gridCol w="714247">
                  <a:extLst>
                    <a:ext uri="{9D8B030D-6E8A-4147-A177-3AD203B41FA5}">
                      <a16:colId xmlns:a16="http://schemas.microsoft.com/office/drawing/2014/main" val="2437147784"/>
                    </a:ext>
                  </a:extLst>
                </a:gridCol>
              </a:tblGrid>
              <a:tr h="26571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PARAMETER DESCRIPTIO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Delta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Percentage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SP 33.7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SP 37 (as found)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extLst>
                  <a:ext uri="{0D108BD9-81ED-4DB2-BD59-A6C34878D82A}">
                    <a16:rowId xmlns:a16="http://schemas.microsoft.com/office/drawing/2014/main" val="369836013"/>
                  </a:ext>
                </a:extLst>
              </a:tr>
              <a:tr h="26571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Set Point (21UIC802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3.30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33.7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  37.00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extLst>
                  <a:ext uri="{0D108BD9-81ED-4DB2-BD59-A6C34878D82A}">
                    <a16:rowId xmlns:a16="http://schemas.microsoft.com/office/drawing/2014/main" val="3352445829"/>
                  </a:ext>
                </a:extLst>
              </a:tr>
              <a:tr h="26571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Comp. Suction Pressure [Trip Point = 50barg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-                  3.27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-9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34.70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  37.97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extLst>
                  <a:ext uri="{0D108BD9-81ED-4DB2-BD59-A6C34878D82A}">
                    <a16:rowId xmlns:a16="http://schemas.microsoft.com/office/drawing/2014/main" val="3305966113"/>
                  </a:ext>
                </a:extLst>
              </a:tr>
              <a:tr h="26571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Comp. Discharge Pressure [Trip Point = 110barg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2.40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3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85.13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  82.73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extLst>
                  <a:ext uri="{0D108BD9-81ED-4DB2-BD59-A6C34878D82A}">
                    <a16:rowId xmlns:a16="http://schemas.microsoft.com/office/drawing/2014/main" val="1695030297"/>
                  </a:ext>
                </a:extLst>
              </a:tr>
              <a:tr h="26571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Export Pressure Plant static  (EGGS) [Trip Point = 95 barg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0.70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1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73.50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  72.80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extLst>
                  <a:ext uri="{0D108BD9-81ED-4DB2-BD59-A6C34878D82A}">
                    <a16:rowId xmlns:a16="http://schemas.microsoft.com/office/drawing/2014/main" val="3438889626"/>
                  </a:ext>
                </a:extLst>
              </a:tr>
              <a:tr h="26571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Export Pressure Plant static  (GTS) [Trip Point = 96 </a:t>
                      </a:r>
                      <a:r>
                        <a:rPr lang="en-US" sz="900" u="none" strike="noStrike" err="1">
                          <a:effectLst/>
                        </a:rPr>
                        <a:t>barg</a:t>
                      </a:r>
                      <a:r>
                        <a:rPr lang="en-US" sz="900" u="none" strike="noStrike">
                          <a:effectLst/>
                        </a:rPr>
                        <a:t>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3.57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4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84.07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  80.50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extLst>
                  <a:ext uri="{0D108BD9-81ED-4DB2-BD59-A6C34878D82A}">
                    <a16:rowId xmlns:a16="http://schemas.microsoft.com/office/drawing/2014/main" val="201152973"/>
                  </a:ext>
                </a:extLst>
              </a:tr>
              <a:tr h="26571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Comp. Suction Temp (degF) [Trip Point = 338F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0.02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0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103.17 </a:t>
                      </a:r>
                      <a:endParaRPr lang="en-US" sz="9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103.15 </a:t>
                      </a:r>
                      <a:endParaRPr lang="en-US" sz="9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extLst>
                  <a:ext uri="{0D108BD9-81ED-4DB2-BD59-A6C34878D82A}">
                    <a16:rowId xmlns:a16="http://schemas.microsoft.com/office/drawing/2014/main" val="3344021845"/>
                  </a:ext>
                </a:extLst>
              </a:tr>
              <a:tr h="26571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Comp. Discharge Temp (degF) [Trip Point = 338F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31.12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13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264.75 </a:t>
                      </a:r>
                      <a:endParaRPr lang="en-US" sz="9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233.63</a:t>
                      </a:r>
                      <a:endParaRPr lang="en-US" sz="9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extLst>
                  <a:ext uri="{0D108BD9-81ED-4DB2-BD59-A6C34878D82A}">
                    <a16:rowId xmlns:a16="http://schemas.microsoft.com/office/drawing/2014/main" val="3151961154"/>
                  </a:ext>
                </a:extLst>
              </a:tr>
              <a:tr h="26571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Turbine Exhaust Temp (EGT) (degF) [Trip Point = 1427F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41.64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3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1,331.33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1,289.69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extLst>
                  <a:ext uri="{0D108BD9-81ED-4DB2-BD59-A6C34878D82A}">
                    <a16:rowId xmlns:a16="http://schemas.microsoft.com/office/drawing/2014/main" val="2619234142"/>
                  </a:ext>
                </a:extLst>
              </a:tr>
              <a:tr h="26571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Compressor Suction Flow (MMSCF) [Trip Point = NA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16.33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12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149.33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133.00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extLst>
                  <a:ext uri="{0D108BD9-81ED-4DB2-BD59-A6C34878D82A}">
                    <a16:rowId xmlns:a16="http://schemas.microsoft.com/office/drawing/2014/main" val="277629089"/>
                  </a:ext>
                </a:extLst>
              </a:tr>
              <a:tr h="26571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Gas Heat Exchanger (Fin-Fan cooler) outlet Temp. [Trip Point = 122F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6.74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7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97.34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  90.60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extLst>
                  <a:ext uri="{0D108BD9-81ED-4DB2-BD59-A6C34878D82A}">
                    <a16:rowId xmlns:a16="http://schemas.microsoft.com/office/drawing/2014/main" val="675895773"/>
                  </a:ext>
                </a:extLst>
              </a:tr>
              <a:tr h="26571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Anti-Surge Valve % Opening [Trip Point = 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- 0.12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-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0.01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    0.14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extLst>
                  <a:ext uri="{0D108BD9-81ED-4DB2-BD59-A6C34878D82A}">
                    <a16:rowId xmlns:a16="http://schemas.microsoft.com/office/drawing/2014/main" val="183976003"/>
                  </a:ext>
                </a:extLst>
              </a:tr>
              <a:tr h="26571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Vibration - Radial x-vibr. HP Compressor NDE [Trip Point = 69um pp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0.03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0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6.90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    6.86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extLst>
                  <a:ext uri="{0D108BD9-81ED-4DB2-BD59-A6C34878D82A}">
                    <a16:rowId xmlns:a16="http://schemas.microsoft.com/office/drawing/2014/main" val="3972516730"/>
                  </a:ext>
                </a:extLst>
              </a:tr>
              <a:tr h="265710">
                <a:tc>
                  <a:txBody>
                    <a:bodyPr/>
                    <a:lstStyle/>
                    <a:p>
                      <a:pPr algn="l" fontAlgn="b"/>
                      <a:r>
                        <a:rPr lang="fr-FR" sz="900" u="none" strike="noStrike">
                          <a:effectLst/>
                        </a:rPr>
                        <a:t>Vibration - Radial vibration HP Compressor DE [Trip Point = 69um pp]</a:t>
                      </a:r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0.19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2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8.53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    8.34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extLst>
                  <a:ext uri="{0D108BD9-81ED-4DB2-BD59-A6C34878D82A}">
                    <a16:rowId xmlns:a16="http://schemas.microsoft.com/office/drawing/2014/main" val="3856370759"/>
                  </a:ext>
                </a:extLst>
              </a:tr>
              <a:tr h="26571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Vibration - Axial displacement HP compressor [Trip Point = -/=0.6mm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0.03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10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0.27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    0.25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extLst>
                  <a:ext uri="{0D108BD9-81ED-4DB2-BD59-A6C34878D82A}">
                    <a16:rowId xmlns:a16="http://schemas.microsoft.com/office/drawing/2014/main" val="2986348589"/>
                  </a:ext>
                </a:extLst>
              </a:tr>
              <a:tr h="26571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Bearing Temperature (Non-Drive End) [Trip Point = 248F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6.10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3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223.88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217.77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extLst>
                  <a:ext uri="{0D108BD9-81ED-4DB2-BD59-A6C34878D82A}">
                    <a16:rowId xmlns:a16="http://schemas.microsoft.com/office/drawing/2014/main" val="2307730046"/>
                  </a:ext>
                </a:extLst>
              </a:tr>
              <a:tr h="26571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Thrust Bearing temperature [Trip Point = 248F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2.67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2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135.49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    132.82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extLst>
                  <a:ext uri="{0D108BD9-81ED-4DB2-BD59-A6C34878D82A}">
                    <a16:rowId xmlns:a16="http://schemas.microsoft.com/office/drawing/2014/main" val="983680945"/>
                  </a:ext>
                </a:extLst>
              </a:tr>
              <a:tr h="26571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Driver (Gas Turbine) Speed [Trip Point = 6500 rpm]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488.26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8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6,400.01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                5,911.75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58" marR="7558" marT="7558" marB="0" anchor="ctr"/>
                </a:tc>
                <a:extLst>
                  <a:ext uri="{0D108BD9-81ED-4DB2-BD59-A6C34878D82A}">
                    <a16:rowId xmlns:a16="http://schemas.microsoft.com/office/drawing/2014/main" val="3160115148"/>
                  </a:ext>
                </a:extLst>
              </a:tr>
            </a:tbl>
          </a:graphicData>
        </a:graphic>
      </p:graphicFrame>
      <p:graphicFrame>
        <p:nvGraphicFramePr>
          <p:cNvPr id="52" name="Object 51">
            <a:extLst>
              <a:ext uri="{FF2B5EF4-FFF2-40B4-BE49-F238E27FC236}">
                <a16:creationId xmlns:a16="http://schemas.microsoft.com/office/drawing/2014/main" id="{FD8C2A2D-78F1-8B7A-A047-48D73263B7A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87897301"/>
              </p:ext>
            </p:extLst>
          </p:nvPr>
        </p:nvGraphicFramePr>
        <p:xfrm>
          <a:off x="11140393" y="24995"/>
          <a:ext cx="89916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5" imgW="914448" imgH="771380" progId="Excel.Sheet.12">
                  <p:embed/>
                </p:oleObj>
              </mc:Choice>
              <mc:Fallback>
                <p:oleObj name="Worksheet" showAsIcon="1" r:id="rId5" imgW="914448" imgH="771380" progId="Excel.Sheet.12">
                  <p:embed/>
                  <p:pic>
                    <p:nvPicPr>
                      <p:cNvPr id="52" name="Object 51">
                        <a:extLst>
                          <a:ext uri="{FF2B5EF4-FFF2-40B4-BE49-F238E27FC236}">
                            <a16:creationId xmlns:a16="http://schemas.microsoft.com/office/drawing/2014/main" id="{FD8C2A2D-78F1-8B7A-A047-48D73263B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40393" y="24995"/>
                        <a:ext cx="89916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TextBox 52">
            <a:extLst>
              <a:ext uri="{FF2B5EF4-FFF2-40B4-BE49-F238E27FC236}">
                <a16:creationId xmlns:a16="http://schemas.microsoft.com/office/drawing/2014/main" id="{5BFA8C9B-B53B-F6B8-CB92-DAE4B38C7EDE}"/>
              </a:ext>
            </a:extLst>
          </p:cNvPr>
          <p:cNvSpPr txBox="1"/>
          <p:nvPr/>
        </p:nvSpPr>
        <p:spPr bwMode="auto">
          <a:xfrm>
            <a:off x="9363456" y="168431"/>
            <a:ext cx="1141499" cy="2685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defTabSz="357708">
              <a:lnSpc>
                <a:spcPct val="140000"/>
              </a:lnSpc>
              <a:spcAft>
                <a:spcPts val="1200"/>
              </a:spcAft>
              <a:buClr>
                <a:schemeClr val="accent2"/>
              </a:buClr>
              <a:buSzPct val="85000"/>
            </a:pPr>
            <a:r>
              <a:rPr lang="en-GB" sz="1400">
                <a:solidFill>
                  <a:schemeClr val="tx1"/>
                </a:solidFill>
                <a:latin typeface="ShellBook" pitchFamily="2" charset="0"/>
              </a:rPr>
              <a:t>RAW Data</a:t>
            </a:r>
          </a:p>
        </p:txBody>
      </p:sp>
      <p:sp>
        <p:nvSpPr>
          <p:cNvPr id="54" name="Arrow: Notched Right 53">
            <a:extLst>
              <a:ext uri="{FF2B5EF4-FFF2-40B4-BE49-F238E27FC236}">
                <a16:creationId xmlns:a16="http://schemas.microsoft.com/office/drawing/2014/main" id="{77E99267-21E8-ABC0-0726-42001B7BFB08}"/>
              </a:ext>
            </a:extLst>
          </p:cNvPr>
          <p:cNvSpPr/>
          <p:nvPr/>
        </p:nvSpPr>
        <p:spPr>
          <a:xfrm>
            <a:off x="10405895" y="243219"/>
            <a:ext cx="716233" cy="229984"/>
          </a:xfrm>
          <a:prstGeom prst="notched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err="1"/>
          </a:p>
        </p:txBody>
      </p:sp>
    </p:spTree>
    <p:extLst>
      <p:ext uri="{BB962C8B-B14F-4D97-AF65-F5344CB8AC3E}">
        <p14:creationId xmlns:p14="http://schemas.microsoft.com/office/powerpoint/2010/main" val="2703797257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03052527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5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hell layouts with footer">
  <a:themeElements>
    <a:clrScheme name="Shell Colour Palette">
      <a:dk1>
        <a:srgbClr val="404040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Font Theme">
      <a:majorFont>
        <a:latin typeface="ShellBold"/>
        <a:ea typeface=""/>
        <a:cs typeface=""/>
      </a:majorFont>
      <a:minorFont>
        <a:latin typeface="Shell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algn="l" defTabSz="357708">
          <a:lnSpc>
            <a:spcPct val="140000"/>
          </a:lnSpc>
          <a:spcAft>
            <a:spcPts val="1200"/>
          </a:spcAft>
          <a:buClr>
            <a:schemeClr val="accent2"/>
          </a:buClr>
          <a:buSzPct val="85000"/>
          <a:buFont typeface="Wingdings" panose="05000000000000000000" pitchFamily="2" charset="2"/>
          <a:buChar char=""/>
          <a:defRPr sz="1400" dirty="0" smtClean="0">
            <a:solidFill>
              <a:schemeClr val="tx1"/>
            </a:solidFill>
            <a:latin typeface="ShellBook" pitchFamily="2" charset="0"/>
          </a:defRPr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Presentation1" id="{B33FFE0E-00AD-4930-9763-36BAA6AABC02}" vid="{2F0BE8E0-F5D1-40D2-9DA5-B255D3D2170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Application>Microsoft Office PowerPoint</Application>
  <PresentationFormat>Widescreen</PresentationFormat>
  <Slides>3</Slides>
  <Notes>0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4" baseType="lpstr">
      <vt:lpstr>Shell layouts with footer</vt:lpstr>
      <vt:lpstr>PowerPoint Presentation</vt:lpstr>
      <vt:lpstr>LPNAG SUCTION PRESSURE DERATING ADDITIONAL 16MMSCFD HEALTHY TURBINE AND COMPRESSOR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TERNAL EXPECTATIONS INTEREST IN RESPECTING NATURE IS DRIVEN BY WELL-ESTABLISHED TOPICS LIKE RECYCLING AND BIODIVERSITY</dc:title>
  <dc:creator>Sani, Mukhtar SPDC-IUC/G/UCS</dc:creator>
  <cp:revision>1</cp:revision>
  <dcterms:created xsi:type="dcterms:W3CDTF">2024-09-19T06:22:12Z</dcterms:created>
  <dcterms:modified xsi:type="dcterms:W3CDTF">2024-09-19T14:53:39Z</dcterms:modified>
</cp:coreProperties>
</file>